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1"/>
  </p:notesMasterIdLst>
  <p:handoutMasterIdLst>
    <p:handoutMasterId r:id="rId32"/>
  </p:handoutMasterIdLst>
  <p:sldIdLst>
    <p:sldId id="257" r:id="rId2"/>
    <p:sldId id="271" r:id="rId3"/>
    <p:sldId id="292" r:id="rId4"/>
    <p:sldId id="294" r:id="rId5"/>
    <p:sldId id="283" r:id="rId6"/>
    <p:sldId id="279" r:id="rId7"/>
    <p:sldId id="293" r:id="rId8"/>
    <p:sldId id="295" r:id="rId9"/>
    <p:sldId id="296" r:id="rId10"/>
    <p:sldId id="297" r:id="rId11"/>
    <p:sldId id="280" r:id="rId12"/>
    <p:sldId id="298" r:id="rId13"/>
    <p:sldId id="282" r:id="rId14"/>
    <p:sldId id="272" r:id="rId15"/>
    <p:sldId id="299" r:id="rId16"/>
    <p:sldId id="273" r:id="rId17"/>
    <p:sldId id="300" r:id="rId18"/>
    <p:sldId id="305" r:id="rId19"/>
    <p:sldId id="301" r:id="rId20"/>
    <p:sldId id="284" r:id="rId21"/>
    <p:sldId id="274" r:id="rId22"/>
    <p:sldId id="277" r:id="rId23"/>
    <p:sldId id="285" r:id="rId24"/>
    <p:sldId id="286" r:id="rId25"/>
    <p:sldId id="287" r:id="rId26"/>
    <p:sldId id="288" r:id="rId27"/>
    <p:sldId id="302" r:id="rId28"/>
    <p:sldId id="303" r:id="rId29"/>
    <p:sldId id="304" r:id="rId30"/>
  </p:sldIdLst>
  <p:sldSz cx="9144000" cy="5143500" type="screen16x9"/>
  <p:notesSz cx="6858000" cy="9144000"/>
  <p:custDataLst>
    <p:tags r:id="rId3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1F6B"/>
    <a:srgbClr val="F7472A"/>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9B001E-0EFA-4C6F-B9A9-A1A3E57DDA52}" v="4" dt="2022-11-04T14:52:32.448"/>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83" d="100"/>
          <a:sy n="83" d="100"/>
        </p:scale>
        <p:origin x="104" y="52"/>
      </p:cViewPr>
      <p:guideLst>
        <p:guide orient="horz" pos="2878"/>
        <p:guide orient="horz" pos="744"/>
        <p:guide pos="2880"/>
        <p:guide pos="271"/>
        <p:guide pos="5489"/>
      </p:guideLst>
    </p:cSldViewPr>
  </p:slideViewPr>
  <p:outlineViewPr>
    <p:cViewPr>
      <p:scale>
        <a:sx n="33" d="100"/>
        <a:sy n="33" d="100"/>
      </p:scale>
      <p:origin x="0" y="-375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5" d="100"/>
          <a:sy n="125" d="100"/>
        </p:scale>
        <p:origin x="-2208" y="15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Batenburg" userId="c6030a91-3587-4b0c-9a04-30c274d4b5d3" providerId="ADAL" clId="{6F39825D-C84F-4FE0-BC11-0A21A573BDA4}"/>
    <pc:docChg chg="undo redo custSel addSld delSld modSld sldOrd">
      <pc:chgData name="Andre Batenburg" userId="c6030a91-3587-4b0c-9a04-30c274d4b5d3" providerId="ADAL" clId="{6F39825D-C84F-4FE0-BC11-0A21A573BDA4}" dt="2021-07-15T15:44:46.056" v="2578" actId="6549"/>
      <pc:docMkLst>
        <pc:docMk/>
      </pc:docMkLst>
      <pc:sldChg chg="modSp mod">
        <pc:chgData name="Andre Batenburg" userId="c6030a91-3587-4b0c-9a04-30c274d4b5d3" providerId="ADAL" clId="{6F39825D-C84F-4FE0-BC11-0A21A573BDA4}" dt="2021-07-15T15:44:46.056" v="2578" actId="6549"/>
        <pc:sldMkLst>
          <pc:docMk/>
          <pc:sldMk cId="3434545749" sldId="257"/>
        </pc:sldMkLst>
        <pc:spChg chg="mod">
          <ac:chgData name="Andre Batenburg" userId="c6030a91-3587-4b0c-9a04-30c274d4b5d3" providerId="ADAL" clId="{6F39825D-C84F-4FE0-BC11-0A21A573BDA4}" dt="2021-07-15T15:44:46.056" v="2578" actId="6549"/>
          <ac:spMkLst>
            <pc:docMk/>
            <pc:sldMk cId="3434545749" sldId="257"/>
            <ac:spMk id="5" creationId="{00000000-0000-0000-0000-000000000000}"/>
          </ac:spMkLst>
        </pc:spChg>
      </pc:sldChg>
      <pc:sldChg chg="modSp mod">
        <pc:chgData name="Andre Batenburg" userId="c6030a91-3587-4b0c-9a04-30c274d4b5d3" providerId="ADAL" clId="{6F39825D-C84F-4FE0-BC11-0A21A573BDA4}" dt="2021-07-15T14:12:19.026" v="2314" actId="6549"/>
        <pc:sldMkLst>
          <pc:docMk/>
          <pc:sldMk cId="3850271385" sldId="271"/>
        </pc:sldMkLst>
        <pc:spChg chg="mod">
          <ac:chgData name="Andre Batenburg" userId="c6030a91-3587-4b0c-9a04-30c274d4b5d3" providerId="ADAL" clId="{6F39825D-C84F-4FE0-BC11-0A21A573BDA4}" dt="2021-07-15T14:12:19.026" v="2314" actId="6549"/>
          <ac:spMkLst>
            <pc:docMk/>
            <pc:sldMk cId="3850271385" sldId="271"/>
            <ac:spMk id="4" creationId="{4A7D0E74-ED2F-40F1-AC19-B7534DC6379E}"/>
          </ac:spMkLst>
        </pc:spChg>
        <pc:spChg chg="mod">
          <ac:chgData name="Andre Batenburg" userId="c6030a91-3587-4b0c-9a04-30c274d4b5d3" providerId="ADAL" clId="{6F39825D-C84F-4FE0-BC11-0A21A573BDA4}" dt="2021-07-14T08:10:17.784" v="1479" actId="20577"/>
          <ac:spMkLst>
            <pc:docMk/>
            <pc:sldMk cId="3850271385" sldId="271"/>
            <ac:spMk id="5" creationId="{C395AE4E-A7D8-464A-9B23-4747629AD39C}"/>
          </ac:spMkLst>
        </pc:spChg>
      </pc:sldChg>
      <pc:sldChg chg="modSp mod">
        <pc:chgData name="Andre Batenburg" userId="c6030a91-3587-4b0c-9a04-30c274d4b5d3" providerId="ADAL" clId="{6F39825D-C84F-4FE0-BC11-0A21A573BDA4}" dt="2021-07-14T14:47:52.377" v="2312" actId="6549"/>
        <pc:sldMkLst>
          <pc:docMk/>
          <pc:sldMk cId="3225462457" sldId="274"/>
        </pc:sldMkLst>
        <pc:spChg chg="mod">
          <ac:chgData name="Andre Batenburg" userId="c6030a91-3587-4b0c-9a04-30c274d4b5d3" providerId="ADAL" clId="{6F39825D-C84F-4FE0-BC11-0A21A573BDA4}" dt="2021-07-14T14:47:52.377" v="2312" actId="6549"/>
          <ac:spMkLst>
            <pc:docMk/>
            <pc:sldMk cId="3225462457" sldId="274"/>
            <ac:spMk id="3" creationId="{C20D9B0B-D5CA-4A31-8CDF-FC0F5316CF08}"/>
          </ac:spMkLst>
        </pc:spChg>
      </pc:sldChg>
      <pc:sldChg chg="ord">
        <pc:chgData name="Andre Batenburg" userId="c6030a91-3587-4b0c-9a04-30c274d4b5d3" providerId="ADAL" clId="{6F39825D-C84F-4FE0-BC11-0A21A573BDA4}" dt="2021-07-14T06:08:36.576" v="235" actId="20578"/>
        <pc:sldMkLst>
          <pc:docMk/>
          <pc:sldMk cId="912891240" sldId="280"/>
        </pc:sldMkLst>
      </pc:sldChg>
      <pc:sldChg chg="ord">
        <pc:chgData name="Andre Batenburg" userId="c6030a91-3587-4b0c-9a04-30c274d4b5d3" providerId="ADAL" clId="{6F39825D-C84F-4FE0-BC11-0A21A573BDA4}" dt="2021-07-14T06:08:36.576" v="235" actId="20578"/>
        <pc:sldMkLst>
          <pc:docMk/>
          <pc:sldMk cId="4145162108" sldId="281"/>
        </pc:sldMkLst>
      </pc:sldChg>
      <pc:sldChg chg="addSp delSp modSp new mod modClrScheme chgLayout">
        <pc:chgData name="Andre Batenburg" userId="c6030a91-3587-4b0c-9a04-30c274d4b5d3" providerId="ADAL" clId="{6F39825D-C84F-4FE0-BC11-0A21A573BDA4}" dt="2021-07-15T14:12:52.691" v="2316" actId="14100"/>
        <pc:sldMkLst>
          <pc:docMk/>
          <pc:sldMk cId="553359527" sldId="282"/>
        </pc:sldMkLst>
        <pc:spChg chg="del">
          <ac:chgData name="Andre Batenburg" userId="c6030a91-3587-4b0c-9a04-30c274d4b5d3" providerId="ADAL" clId="{6F39825D-C84F-4FE0-BC11-0A21A573BDA4}" dt="2021-07-14T06:04:15.159" v="165" actId="931"/>
          <ac:spMkLst>
            <pc:docMk/>
            <pc:sldMk cId="553359527" sldId="282"/>
            <ac:spMk id="2" creationId="{5AC7CBC8-D41C-4656-ADB5-0904E785BE21}"/>
          </ac:spMkLst>
        </pc:spChg>
        <pc:spChg chg="mod">
          <ac:chgData name="Andre Batenburg" userId="c6030a91-3587-4b0c-9a04-30c274d4b5d3" providerId="ADAL" clId="{6F39825D-C84F-4FE0-BC11-0A21A573BDA4}" dt="2021-07-14T06:10:05.985" v="354" actId="20577"/>
          <ac:spMkLst>
            <pc:docMk/>
            <pc:sldMk cId="553359527" sldId="282"/>
            <ac:spMk id="3" creationId="{6A74664F-661B-436E-8A61-5A474F475A5D}"/>
          </ac:spMkLst>
        </pc:spChg>
        <pc:spChg chg="mod ord">
          <ac:chgData name="Andre Batenburg" userId="c6030a91-3587-4b0c-9a04-30c274d4b5d3" providerId="ADAL" clId="{6F39825D-C84F-4FE0-BC11-0A21A573BDA4}" dt="2021-07-14T06:06:08.382" v="185" actId="26606"/>
          <ac:spMkLst>
            <pc:docMk/>
            <pc:sldMk cId="553359527" sldId="282"/>
            <ac:spMk id="4" creationId="{0BEADF2F-6A3F-4EE5-82B1-910EE94D233D}"/>
          </ac:spMkLst>
        </pc:spChg>
        <pc:spChg chg="add del mod">
          <ac:chgData name="Andre Batenburg" userId="c6030a91-3587-4b0c-9a04-30c274d4b5d3" providerId="ADAL" clId="{6F39825D-C84F-4FE0-BC11-0A21A573BDA4}" dt="2021-07-14T06:04:45.027" v="171" actId="931"/>
          <ac:spMkLst>
            <pc:docMk/>
            <pc:sldMk cId="553359527" sldId="282"/>
            <ac:spMk id="8" creationId="{B8134B3B-0AC3-4385-9EC6-CBDA1AC9C9EE}"/>
          </ac:spMkLst>
        </pc:spChg>
        <pc:spChg chg="add del mod">
          <ac:chgData name="Andre Batenburg" userId="c6030a91-3587-4b0c-9a04-30c274d4b5d3" providerId="ADAL" clId="{6F39825D-C84F-4FE0-BC11-0A21A573BDA4}" dt="2021-07-14T06:06:04.159" v="184" actId="478"/>
          <ac:spMkLst>
            <pc:docMk/>
            <pc:sldMk cId="553359527" sldId="282"/>
            <ac:spMk id="12" creationId="{0C09F440-F40D-42FF-BBD5-5FCBD45E09C3}"/>
          </ac:spMkLst>
        </pc:spChg>
        <pc:spChg chg="add del mod">
          <ac:chgData name="Andre Batenburg" userId="c6030a91-3587-4b0c-9a04-30c274d4b5d3" providerId="ADAL" clId="{6F39825D-C84F-4FE0-BC11-0A21A573BDA4}" dt="2021-07-14T06:05:05.462" v="173" actId="26606"/>
          <ac:spMkLst>
            <pc:docMk/>
            <pc:sldMk cId="553359527" sldId="282"/>
            <ac:spMk id="15" creationId="{591F3B08-5781-49E2-B9A0-4F3A36059992}"/>
          </ac:spMkLst>
        </pc:spChg>
        <pc:spChg chg="add del mod">
          <ac:chgData name="Andre Batenburg" userId="c6030a91-3587-4b0c-9a04-30c274d4b5d3" providerId="ADAL" clId="{6F39825D-C84F-4FE0-BC11-0A21A573BDA4}" dt="2021-07-14T06:05:05.462" v="173" actId="26606"/>
          <ac:spMkLst>
            <pc:docMk/>
            <pc:sldMk cId="553359527" sldId="282"/>
            <ac:spMk id="17" creationId="{7368B21D-DC6C-4880-B4CA-FE0F520CC768}"/>
          </ac:spMkLst>
        </pc:spChg>
        <pc:spChg chg="add del mod">
          <ac:chgData name="Andre Batenburg" userId="c6030a91-3587-4b0c-9a04-30c274d4b5d3" providerId="ADAL" clId="{6F39825D-C84F-4FE0-BC11-0A21A573BDA4}" dt="2021-07-14T06:05:05.462" v="173" actId="26606"/>
          <ac:spMkLst>
            <pc:docMk/>
            <pc:sldMk cId="553359527" sldId="282"/>
            <ac:spMk id="19" creationId="{1941C425-03D4-464F-9CB1-EB0213911999}"/>
          </ac:spMkLst>
        </pc:spChg>
        <pc:spChg chg="add del mod">
          <ac:chgData name="Andre Batenburg" userId="c6030a91-3587-4b0c-9a04-30c274d4b5d3" providerId="ADAL" clId="{6F39825D-C84F-4FE0-BC11-0A21A573BDA4}" dt="2021-07-14T06:05:05.462" v="173" actId="26606"/>
          <ac:spMkLst>
            <pc:docMk/>
            <pc:sldMk cId="553359527" sldId="282"/>
            <ac:spMk id="21" creationId="{11CF22A8-8330-46E1-ADF3-13A16AB5806A}"/>
          </ac:spMkLst>
        </pc:spChg>
        <pc:spChg chg="add mod">
          <ac:chgData name="Andre Batenburg" userId="c6030a91-3587-4b0c-9a04-30c274d4b5d3" providerId="ADAL" clId="{6F39825D-C84F-4FE0-BC11-0A21A573BDA4}" dt="2021-07-14T06:06:08.382" v="185" actId="26606"/>
          <ac:spMkLst>
            <pc:docMk/>
            <pc:sldMk cId="553359527" sldId="282"/>
            <ac:spMk id="23" creationId="{0BDD9823-7AFD-45F9-8BA7-0F20ADBB4EA2}"/>
          </ac:spMkLst>
        </pc:spChg>
        <pc:spChg chg="add mod">
          <ac:chgData name="Andre Batenburg" userId="c6030a91-3587-4b0c-9a04-30c274d4b5d3" providerId="ADAL" clId="{6F39825D-C84F-4FE0-BC11-0A21A573BDA4}" dt="2021-07-14T06:06:08.382" v="185" actId="26606"/>
          <ac:spMkLst>
            <pc:docMk/>
            <pc:sldMk cId="553359527" sldId="282"/>
            <ac:spMk id="24" creationId="{5E6B330F-344C-4F92-9905-8D94CA0E1AF6}"/>
          </ac:spMkLst>
        </pc:spChg>
        <pc:spChg chg="add del mod">
          <ac:chgData name="Andre Batenburg" userId="c6030a91-3587-4b0c-9a04-30c274d4b5d3" providerId="ADAL" clId="{6F39825D-C84F-4FE0-BC11-0A21A573BDA4}" dt="2021-07-14T06:05:33.049" v="179" actId="26606"/>
          <ac:spMkLst>
            <pc:docMk/>
            <pc:sldMk cId="553359527" sldId="282"/>
            <ac:spMk id="29" creationId="{3E8E7545-D543-4FA5-A82C-4664F97A68D0}"/>
          </ac:spMkLst>
        </pc:spChg>
        <pc:spChg chg="add del mod">
          <ac:chgData name="Andre Batenburg" userId="c6030a91-3587-4b0c-9a04-30c274d4b5d3" providerId="ADAL" clId="{6F39825D-C84F-4FE0-BC11-0A21A573BDA4}" dt="2021-07-14T06:05:33.049" v="179" actId="26606"/>
          <ac:spMkLst>
            <pc:docMk/>
            <pc:sldMk cId="553359527" sldId="282"/>
            <ac:spMk id="31" creationId="{8CC8752C-1ECD-454F-901A-67A85F0773C2}"/>
          </ac:spMkLst>
        </pc:spChg>
        <pc:picChg chg="add del mod">
          <ac:chgData name="Andre Batenburg" userId="c6030a91-3587-4b0c-9a04-30c274d4b5d3" providerId="ADAL" clId="{6F39825D-C84F-4FE0-BC11-0A21A573BDA4}" dt="2021-07-14T06:04:32.536" v="169" actId="478"/>
          <ac:picMkLst>
            <pc:docMk/>
            <pc:sldMk cId="553359527" sldId="282"/>
            <ac:picMk id="6" creationId="{E9FB6C06-8A5F-499A-B715-A287225BF449}"/>
          </ac:picMkLst>
        </pc:picChg>
        <pc:picChg chg="add del mod ord">
          <ac:chgData name="Andre Batenburg" userId="c6030a91-3587-4b0c-9a04-30c274d4b5d3" providerId="ADAL" clId="{6F39825D-C84F-4FE0-BC11-0A21A573BDA4}" dt="2021-07-14T06:05:59.339" v="183" actId="478"/>
          <ac:picMkLst>
            <pc:docMk/>
            <pc:sldMk cId="553359527" sldId="282"/>
            <ac:picMk id="10" creationId="{45317C41-426D-4642-94A7-46AF8E758285}"/>
          </ac:picMkLst>
        </pc:picChg>
        <pc:picChg chg="add mod">
          <ac:chgData name="Andre Batenburg" userId="c6030a91-3587-4b0c-9a04-30c274d4b5d3" providerId="ADAL" clId="{6F39825D-C84F-4FE0-BC11-0A21A573BDA4}" dt="2021-07-15T14:12:52.691" v="2316" actId="14100"/>
          <ac:picMkLst>
            <pc:docMk/>
            <pc:sldMk cId="553359527" sldId="282"/>
            <ac:picMk id="14" creationId="{A201AC62-8545-4C8E-B7C9-7E6A09CC3C4D}"/>
          </ac:picMkLst>
        </pc:picChg>
      </pc:sldChg>
      <pc:sldChg chg="addSp delSp modSp add mod ord modClrScheme chgLayout">
        <pc:chgData name="Andre Batenburg" userId="c6030a91-3587-4b0c-9a04-30c274d4b5d3" providerId="ADAL" clId="{6F39825D-C84F-4FE0-BC11-0A21A573BDA4}" dt="2021-07-15T14:12:35.273" v="2315" actId="14100"/>
        <pc:sldMkLst>
          <pc:docMk/>
          <pc:sldMk cId="2470267485" sldId="283"/>
        </pc:sldMkLst>
        <pc:spChg chg="mod">
          <ac:chgData name="Andre Batenburg" userId="c6030a91-3587-4b0c-9a04-30c274d4b5d3" providerId="ADAL" clId="{6F39825D-C84F-4FE0-BC11-0A21A573BDA4}" dt="2021-07-14T06:27:00.323" v="426" actId="14100"/>
          <ac:spMkLst>
            <pc:docMk/>
            <pc:sldMk cId="2470267485" sldId="283"/>
            <ac:spMk id="3" creationId="{6A74664F-661B-436E-8A61-5A474F475A5D}"/>
          </ac:spMkLst>
        </pc:spChg>
        <pc:spChg chg="mod ord">
          <ac:chgData name="Andre Batenburg" userId="c6030a91-3587-4b0c-9a04-30c274d4b5d3" providerId="ADAL" clId="{6F39825D-C84F-4FE0-BC11-0A21A573BDA4}" dt="2021-07-14T06:24:57.142" v="357" actId="26606"/>
          <ac:spMkLst>
            <pc:docMk/>
            <pc:sldMk cId="2470267485" sldId="283"/>
            <ac:spMk id="4" creationId="{0BEADF2F-6A3F-4EE5-82B1-910EE94D233D}"/>
          </ac:spMkLst>
        </pc:spChg>
        <pc:spChg chg="mod">
          <ac:chgData name="Andre Batenburg" userId="c6030a91-3587-4b0c-9a04-30c274d4b5d3" providerId="ADAL" clId="{6F39825D-C84F-4FE0-BC11-0A21A573BDA4}" dt="2021-07-14T06:24:57.142" v="357" actId="26606"/>
          <ac:spMkLst>
            <pc:docMk/>
            <pc:sldMk cId="2470267485" sldId="283"/>
            <ac:spMk id="23" creationId="{0BDD9823-7AFD-45F9-8BA7-0F20ADBB4EA2}"/>
          </ac:spMkLst>
        </pc:spChg>
        <pc:spChg chg="mod">
          <ac:chgData name="Andre Batenburg" userId="c6030a91-3587-4b0c-9a04-30c274d4b5d3" providerId="ADAL" clId="{6F39825D-C84F-4FE0-BC11-0A21A573BDA4}" dt="2021-07-14T06:24:57.142" v="357" actId="26606"/>
          <ac:spMkLst>
            <pc:docMk/>
            <pc:sldMk cId="2470267485" sldId="283"/>
            <ac:spMk id="24" creationId="{5E6B330F-344C-4F92-9905-8D94CA0E1AF6}"/>
          </ac:spMkLst>
        </pc:spChg>
        <pc:picChg chg="add mod">
          <ac:chgData name="Andre Batenburg" userId="c6030a91-3587-4b0c-9a04-30c274d4b5d3" providerId="ADAL" clId="{6F39825D-C84F-4FE0-BC11-0A21A573BDA4}" dt="2021-07-15T14:12:35.273" v="2315" actId="14100"/>
          <ac:picMkLst>
            <pc:docMk/>
            <pc:sldMk cId="2470267485" sldId="283"/>
            <ac:picMk id="5" creationId="{53ED9247-3297-416B-ADEE-1D47E3707529}"/>
          </ac:picMkLst>
        </pc:picChg>
        <pc:picChg chg="del">
          <ac:chgData name="Andre Batenburg" userId="c6030a91-3587-4b0c-9a04-30c274d4b5d3" providerId="ADAL" clId="{6F39825D-C84F-4FE0-BC11-0A21A573BDA4}" dt="2021-07-14T06:24:33.837" v="355" actId="478"/>
          <ac:picMkLst>
            <pc:docMk/>
            <pc:sldMk cId="2470267485" sldId="283"/>
            <ac:picMk id="14" creationId="{A201AC62-8545-4C8E-B7C9-7E6A09CC3C4D}"/>
          </ac:picMkLst>
        </pc:picChg>
      </pc:sldChg>
      <pc:sldChg chg="addSp delSp modSp add mod">
        <pc:chgData name="Andre Batenburg" userId="c6030a91-3587-4b0c-9a04-30c274d4b5d3" providerId="ADAL" clId="{6F39825D-C84F-4FE0-BC11-0A21A573BDA4}" dt="2021-07-14T06:35:46.850" v="515" actId="14100"/>
        <pc:sldMkLst>
          <pc:docMk/>
          <pc:sldMk cId="2798211207" sldId="284"/>
        </pc:sldMkLst>
        <pc:spChg chg="mod">
          <ac:chgData name="Andre Batenburg" userId="c6030a91-3587-4b0c-9a04-30c274d4b5d3" providerId="ADAL" clId="{6F39825D-C84F-4FE0-BC11-0A21A573BDA4}" dt="2021-07-14T06:28:26.249" v="511" actId="6549"/>
          <ac:spMkLst>
            <pc:docMk/>
            <pc:sldMk cId="2798211207" sldId="284"/>
            <ac:spMk id="3" creationId="{6A74664F-661B-436E-8A61-5A474F475A5D}"/>
          </ac:spMkLst>
        </pc:spChg>
        <pc:spChg chg="mod">
          <ac:chgData name="Andre Batenburg" userId="c6030a91-3587-4b0c-9a04-30c274d4b5d3" providerId="ADAL" clId="{6F39825D-C84F-4FE0-BC11-0A21A573BDA4}" dt="2021-07-14T06:27:30.247" v="445" actId="6549"/>
          <ac:spMkLst>
            <pc:docMk/>
            <pc:sldMk cId="2798211207" sldId="284"/>
            <ac:spMk id="4" creationId="{0BEADF2F-6A3F-4EE5-82B1-910EE94D233D}"/>
          </ac:spMkLst>
        </pc:spChg>
        <pc:picChg chg="add mod">
          <ac:chgData name="Andre Batenburg" userId="c6030a91-3587-4b0c-9a04-30c274d4b5d3" providerId="ADAL" clId="{6F39825D-C84F-4FE0-BC11-0A21A573BDA4}" dt="2021-07-14T06:35:46.850" v="515" actId="14100"/>
          <ac:picMkLst>
            <pc:docMk/>
            <pc:sldMk cId="2798211207" sldId="284"/>
            <ac:picMk id="5" creationId="{49DDE50A-4C02-4716-A3A8-EECC522B3C81}"/>
          </ac:picMkLst>
        </pc:picChg>
        <pc:picChg chg="del">
          <ac:chgData name="Andre Batenburg" userId="c6030a91-3587-4b0c-9a04-30c274d4b5d3" providerId="ADAL" clId="{6F39825D-C84F-4FE0-BC11-0A21A573BDA4}" dt="2021-07-14T06:35:18.229" v="512" actId="478"/>
          <ac:picMkLst>
            <pc:docMk/>
            <pc:sldMk cId="2798211207" sldId="284"/>
            <ac:picMk id="14" creationId="{A201AC62-8545-4C8E-B7C9-7E6A09CC3C4D}"/>
          </ac:picMkLst>
        </pc:picChg>
      </pc:sldChg>
      <pc:sldChg chg="addSp delSp modSp add mod">
        <pc:chgData name="Andre Batenburg" userId="c6030a91-3587-4b0c-9a04-30c274d4b5d3" providerId="ADAL" clId="{6F39825D-C84F-4FE0-BC11-0A21A573BDA4}" dt="2021-07-15T14:13:38.018" v="2324" actId="14100"/>
        <pc:sldMkLst>
          <pc:docMk/>
          <pc:sldMk cId="3726399744" sldId="285"/>
        </pc:sldMkLst>
        <pc:spChg chg="mod">
          <ac:chgData name="Andre Batenburg" userId="c6030a91-3587-4b0c-9a04-30c274d4b5d3" providerId="ADAL" clId="{6F39825D-C84F-4FE0-BC11-0A21A573BDA4}" dt="2021-07-15T14:13:33.530" v="2323" actId="14100"/>
          <ac:spMkLst>
            <pc:docMk/>
            <pc:sldMk cId="3726399744" sldId="285"/>
            <ac:spMk id="3" creationId="{6A74664F-661B-436E-8A61-5A474F475A5D}"/>
          </ac:spMkLst>
        </pc:spChg>
        <pc:spChg chg="mod">
          <ac:chgData name="Andre Batenburg" userId="c6030a91-3587-4b0c-9a04-30c274d4b5d3" providerId="ADAL" clId="{6F39825D-C84F-4FE0-BC11-0A21A573BDA4}" dt="2021-07-14T06:36:40.690" v="538" actId="20577"/>
          <ac:spMkLst>
            <pc:docMk/>
            <pc:sldMk cId="3726399744" sldId="285"/>
            <ac:spMk id="4" creationId="{0BEADF2F-6A3F-4EE5-82B1-910EE94D233D}"/>
          </ac:spMkLst>
        </pc:spChg>
        <pc:picChg chg="del mod">
          <ac:chgData name="Andre Batenburg" userId="c6030a91-3587-4b0c-9a04-30c274d4b5d3" providerId="ADAL" clId="{6F39825D-C84F-4FE0-BC11-0A21A573BDA4}" dt="2021-07-14T07:19:42.297" v="1128" actId="478"/>
          <ac:picMkLst>
            <pc:docMk/>
            <pc:sldMk cId="3726399744" sldId="285"/>
            <ac:picMk id="5" creationId="{49DDE50A-4C02-4716-A3A8-EECC522B3C81}"/>
          </ac:picMkLst>
        </pc:picChg>
        <pc:picChg chg="add mod">
          <ac:chgData name="Andre Batenburg" userId="c6030a91-3587-4b0c-9a04-30c274d4b5d3" providerId="ADAL" clId="{6F39825D-C84F-4FE0-BC11-0A21A573BDA4}" dt="2021-07-15T14:13:38.018" v="2324" actId="14100"/>
          <ac:picMkLst>
            <pc:docMk/>
            <pc:sldMk cId="3726399744" sldId="285"/>
            <ac:picMk id="6" creationId="{1E7B17CF-47BC-471C-82D2-34485A8DF7B4}"/>
          </ac:picMkLst>
        </pc:picChg>
      </pc:sldChg>
      <pc:sldChg chg="addSp delSp modSp new mod">
        <pc:chgData name="Andre Batenburg" userId="c6030a91-3587-4b0c-9a04-30c274d4b5d3" providerId="ADAL" clId="{6F39825D-C84F-4FE0-BC11-0A21A573BDA4}" dt="2021-07-14T07:25:06.286" v="1357" actId="14100"/>
        <pc:sldMkLst>
          <pc:docMk/>
          <pc:sldMk cId="2812970303" sldId="286"/>
        </pc:sldMkLst>
        <pc:spChg chg="mod">
          <ac:chgData name="Andre Batenburg" userId="c6030a91-3587-4b0c-9a04-30c274d4b5d3" providerId="ADAL" clId="{6F39825D-C84F-4FE0-BC11-0A21A573BDA4}" dt="2021-07-14T07:24:51.815" v="1355" actId="1036"/>
          <ac:spMkLst>
            <pc:docMk/>
            <pc:sldMk cId="2812970303" sldId="286"/>
            <ac:spMk id="2" creationId="{F0AAD7FE-5E38-4909-B2A9-AACFE7437F07}"/>
          </ac:spMkLst>
        </pc:spChg>
        <pc:spChg chg="del">
          <ac:chgData name="Andre Batenburg" userId="c6030a91-3587-4b0c-9a04-30c274d4b5d3" providerId="ADAL" clId="{6F39825D-C84F-4FE0-BC11-0A21A573BDA4}" dt="2021-07-14T07:21:40.512" v="1149" actId="478"/>
          <ac:spMkLst>
            <pc:docMk/>
            <pc:sldMk cId="2812970303" sldId="286"/>
            <ac:spMk id="3" creationId="{4865A34D-DFA1-4F95-8E9E-7AD9551319B9}"/>
          </ac:spMkLst>
        </pc:spChg>
        <pc:picChg chg="add mod">
          <ac:chgData name="Andre Batenburg" userId="c6030a91-3587-4b0c-9a04-30c274d4b5d3" providerId="ADAL" clId="{6F39825D-C84F-4FE0-BC11-0A21A573BDA4}" dt="2021-07-14T07:25:06.286" v="1357" actId="14100"/>
          <ac:picMkLst>
            <pc:docMk/>
            <pc:sldMk cId="2812970303" sldId="286"/>
            <ac:picMk id="7" creationId="{F8138DB6-EAA8-4B72-8C4A-6D5BF4CFF3F0}"/>
          </ac:picMkLst>
        </pc:picChg>
      </pc:sldChg>
      <pc:sldChg chg="addSp delSp modSp add del mod">
        <pc:chgData name="Andre Batenburg" userId="c6030a91-3587-4b0c-9a04-30c274d4b5d3" providerId="ADAL" clId="{6F39825D-C84F-4FE0-BC11-0A21A573BDA4}" dt="2021-07-15T15:43:37.807" v="2570" actId="14100"/>
        <pc:sldMkLst>
          <pc:docMk/>
          <pc:sldMk cId="649030648" sldId="287"/>
        </pc:sldMkLst>
        <pc:spChg chg="mod">
          <ac:chgData name="Andre Batenburg" userId="c6030a91-3587-4b0c-9a04-30c274d4b5d3" providerId="ADAL" clId="{6F39825D-C84F-4FE0-BC11-0A21A573BDA4}" dt="2021-07-14T07:25:26.022" v="1369" actId="20577"/>
          <ac:spMkLst>
            <pc:docMk/>
            <pc:sldMk cId="649030648" sldId="287"/>
            <ac:spMk id="2" creationId="{F0AAD7FE-5E38-4909-B2A9-AACFE7437F07}"/>
          </ac:spMkLst>
        </pc:spChg>
        <pc:picChg chg="add del mod">
          <ac:chgData name="Andre Batenburg" userId="c6030a91-3587-4b0c-9a04-30c274d4b5d3" providerId="ADAL" clId="{6F39825D-C84F-4FE0-BC11-0A21A573BDA4}" dt="2021-07-15T15:42:16.321" v="2564" actId="478"/>
          <ac:picMkLst>
            <pc:docMk/>
            <pc:sldMk cId="649030648" sldId="287"/>
            <ac:picMk id="6" creationId="{B3E68125-A61B-4A9D-8575-68533FC667A9}"/>
          </ac:picMkLst>
        </pc:picChg>
        <pc:picChg chg="add mod">
          <ac:chgData name="Andre Batenburg" userId="c6030a91-3587-4b0c-9a04-30c274d4b5d3" providerId="ADAL" clId="{6F39825D-C84F-4FE0-BC11-0A21A573BDA4}" dt="2021-07-15T15:43:37.807" v="2570" actId="14100"/>
          <ac:picMkLst>
            <pc:docMk/>
            <pc:sldMk cId="649030648" sldId="287"/>
            <ac:picMk id="7" creationId="{B9E7E1FB-35BD-42B3-B69D-568189CE9E94}"/>
          </ac:picMkLst>
        </pc:picChg>
        <pc:picChg chg="del">
          <ac:chgData name="Andre Batenburg" userId="c6030a91-3587-4b0c-9a04-30c274d4b5d3" providerId="ADAL" clId="{6F39825D-C84F-4FE0-BC11-0A21A573BDA4}" dt="2021-07-14T07:25:28.696" v="1370" actId="478"/>
          <ac:picMkLst>
            <pc:docMk/>
            <pc:sldMk cId="649030648" sldId="287"/>
            <ac:picMk id="7" creationId="{F8138DB6-EAA8-4B72-8C4A-6D5BF4CFF3F0}"/>
          </ac:picMkLst>
        </pc:picChg>
      </pc:sldChg>
      <pc:sldChg chg="addSp delSp modSp new del mod">
        <pc:chgData name="Andre Batenburg" userId="c6030a91-3587-4b0c-9a04-30c274d4b5d3" providerId="ADAL" clId="{6F39825D-C84F-4FE0-BC11-0A21A573BDA4}" dt="2021-07-14T07:25:12.847" v="1358" actId="47"/>
        <pc:sldMkLst>
          <pc:docMk/>
          <pc:sldMk cId="3316343753" sldId="287"/>
        </pc:sldMkLst>
        <pc:spChg chg="del">
          <ac:chgData name="Andre Batenburg" userId="c6030a91-3587-4b0c-9a04-30c274d4b5d3" providerId="ADAL" clId="{6F39825D-C84F-4FE0-BC11-0A21A573BDA4}" dt="2021-07-14T07:22:56.376" v="1175" actId="478"/>
          <ac:spMkLst>
            <pc:docMk/>
            <pc:sldMk cId="3316343753" sldId="287"/>
            <ac:spMk id="2" creationId="{17D47823-D44C-4C99-A874-055B6E3B540F}"/>
          </ac:spMkLst>
        </pc:spChg>
        <pc:spChg chg="mod">
          <ac:chgData name="Andre Batenburg" userId="c6030a91-3587-4b0c-9a04-30c274d4b5d3" providerId="ADAL" clId="{6F39825D-C84F-4FE0-BC11-0A21A573BDA4}" dt="2021-07-14T07:23:21.232" v="1219" actId="20577"/>
          <ac:spMkLst>
            <pc:docMk/>
            <pc:sldMk cId="3316343753" sldId="287"/>
            <ac:spMk id="5" creationId="{04052410-0973-43F5-B86B-D8B45AF06B83}"/>
          </ac:spMkLst>
        </pc:spChg>
        <pc:picChg chg="add mod">
          <ac:chgData name="Andre Batenburg" userId="c6030a91-3587-4b0c-9a04-30c274d4b5d3" providerId="ADAL" clId="{6F39825D-C84F-4FE0-BC11-0A21A573BDA4}" dt="2021-07-14T07:24:17.785" v="1261" actId="14100"/>
          <ac:picMkLst>
            <pc:docMk/>
            <pc:sldMk cId="3316343753" sldId="287"/>
            <ac:picMk id="7" creationId="{80C6B01A-B102-4955-A55B-FA5E450FA603}"/>
          </ac:picMkLst>
        </pc:picChg>
      </pc:sldChg>
      <pc:sldChg chg="addSp delSp modSp add mod">
        <pc:chgData name="Andre Batenburg" userId="c6030a91-3587-4b0c-9a04-30c274d4b5d3" providerId="ADAL" clId="{6F39825D-C84F-4FE0-BC11-0A21A573BDA4}" dt="2021-07-15T15:44:27.512" v="2576" actId="14100"/>
        <pc:sldMkLst>
          <pc:docMk/>
          <pc:sldMk cId="142520883" sldId="288"/>
        </pc:sldMkLst>
        <pc:spChg chg="mod">
          <ac:chgData name="Andre Batenburg" userId="c6030a91-3587-4b0c-9a04-30c274d4b5d3" providerId="ADAL" clId="{6F39825D-C84F-4FE0-BC11-0A21A573BDA4}" dt="2021-07-14T07:27:21.432" v="1435" actId="20577"/>
          <ac:spMkLst>
            <pc:docMk/>
            <pc:sldMk cId="142520883" sldId="288"/>
            <ac:spMk id="2" creationId="{F0AAD7FE-5E38-4909-B2A9-AACFE7437F07}"/>
          </ac:spMkLst>
        </pc:spChg>
        <pc:picChg chg="del">
          <ac:chgData name="Andre Batenburg" userId="c6030a91-3587-4b0c-9a04-30c274d4b5d3" providerId="ADAL" clId="{6F39825D-C84F-4FE0-BC11-0A21A573BDA4}" dt="2021-07-14T07:27:24.559" v="1436" actId="478"/>
          <ac:picMkLst>
            <pc:docMk/>
            <pc:sldMk cId="142520883" sldId="288"/>
            <ac:picMk id="6" creationId="{B3E68125-A61B-4A9D-8575-68533FC667A9}"/>
          </ac:picMkLst>
        </pc:picChg>
        <pc:picChg chg="add mod">
          <ac:chgData name="Andre Batenburg" userId="c6030a91-3587-4b0c-9a04-30c274d4b5d3" providerId="ADAL" clId="{6F39825D-C84F-4FE0-BC11-0A21A573BDA4}" dt="2021-07-15T15:44:27.512" v="2576" actId="14100"/>
          <ac:picMkLst>
            <pc:docMk/>
            <pc:sldMk cId="142520883" sldId="288"/>
            <ac:picMk id="6" creationId="{E46F8048-01AF-4AF2-BB16-6EAD82332233}"/>
          </ac:picMkLst>
        </pc:picChg>
        <pc:picChg chg="add del mod">
          <ac:chgData name="Andre Batenburg" userId="c6030a91-3587-4b0c-9a04-30c274d4b5d3" providerId="ADAL" clId="{6F39825D-C84F-4FE0-BC11-0A21A573BDA4}" dt="2021-07-14T07:29:02.213" v="1441" actId="478"/>
          <ac:picMkLst>
            <pc:docMk/>
            <pc:sldMk cId="142520883" sldId="288"/>
            <ac:picMk id="7" creationId="{7346D199-3616-4CFE-8EFB-BB6C90CCF88E}"/>
          </ac:picMkLst>
        </pc:picChg>
        <pc:picChg chg="add del mod">
          <ac:chgData name="Andre Batenburg" userId="c6030a91-3587-4b0c-9a04-30c274d4b5d3" providerId="ADAL" clId="{6F39825D-C84F-4FE0-BC11-0A21A573BDA4}" dt="2021-07-15T15:43:53.731" v="2571" actId="478"/>
          <ac:picMkLst>
            <pc:docMk/>
            <pc:sldMk cId="142520883" sldId="288"/>
            <ac:picMk id="9" creationId="{4A7A5EE8-B21B-4741-91DA-0ED3CCAF038D}"/>
          </ac:picMkLst>
        </pc:picChg>
      </pc:sldChg>
      <pc:sldChg chg="addSp delSp modSp new mod modClrScheme chgLayout">
        <pc:chgData name="Andre Batenburg" userId="c6030a91-3587-4b0c-9a04-30c274d4b5d3" providerId="ADAL" clId="{6F39825D-C84F-4FE0-BC11-0A21A573BDA4}" dt="2021-07-15T15:16:20.062" v="2561" actId="2165"/>
        <pc:sldMkLst>
          <pc:docMk/>
          <pc:sldMk cId="1910007894" sldId="289"/>
        </pc:sldMkLst>
        <pc:spChg chg="mod ord">
          <ac:chgData name="Andre Batenburg" userId="c6030a91-3587-4b0c-9a04-30c274d4b5d3" providerId="ADAL" clId="{6F39825D-C84F-4FE0-BC11-0A21A573BDA4}" dt="2021-07-15T14:59:50.980" v="2490" actId="6549"/>
          <ac:spMkLst>
            <pc:docMk/>
            <pc:sldMk cId="1910007894" sldId="289"/>
            <ac:spMk id="2" creationId="{62FC119F-15DB-4751-9A2B-27FB1B07E8A5}"/>
          </ac:spMkLst>
        </pc:spChg>
        <pc:spChg chg="mod ord">
          <ac:chgData name="Andre Batenburg" userId="c6030a91-3587-4b0c-9a04-30c274d4b5d3" providerId="ADAL" clId="{6F39825D-C84F-4FE0-BC11-0A21A573BDA4}" dt="2021-07-14T08:23:56.267" v="1917" actId="1076"/>
          <ac:spMkLst>
            <pc:docMk/>
            <pc:sldMk cId="1910007894" sldId="289"/>
            <ac:spMk id="3" creationId="{CD972408-CF28-43F2-B207-7D5B4304B6EE}"/>
          </ac:spMkLst>
        </pc:spChg>
        <pc:spChg chg="mod ord">
          <ac:chgData name="Andre Batenburg" userId="c6030a91-3587-4b0c-9a04-30c274d4b5d3" providerId="ADAL" clId="{6F39825D-C84F-4FE0-BC11-0A21A573BDA4}" dt="2021-07-14T08:16:05.413" v="1575" actId="700"/>
          <ac:spMkLst>
            <pc:docMk/>
            <pc:sldMk cId="1910007894" sldId="289"/>
            <ac:spMk id="4" creationId="{4BFC8D3E-2D2D-4CE2-AC14-21B68451FB33}"/>
          </ac:spMkLst>
        </pc:spChg>
        <pc:spChg chg="mod ord">
          <ac:chgData name="Andre Batenburg" userId="c6030a91-3587-4b0c-9a04-30c274d4b5d3" providerId="ADAL" clId="{6F39825D-C84F-4FE0-BC11-0A21A573BDA4}" dt="2021-07-14T08:16:05.413" v="1575" actId="700"/>
          <ac:spMkLst>
            <pc:docMk/>
            <pc:sldMk cId="1910007894" sldId="289"/>
            <ac:spMk id="5" creationId="{91A028D1-1D42-4156-9622-7BCBC895591E}"/>
          </ac:spMkLst>
        </pc:spChg>
        <pc:spChg chg="add del mod ord">
          <ac:chgData name="Andre Batenburg" userId="c6030a91-3587-4b0c-9a04-30c274d4b5d3" providerId="ADAL" clId="{6F39825D-C84F-4FE0-BC11-0A21A573BDA4}" dt="2021-07-14T08:16:23.130" v="1576" actId="3680"/>
          <ac:spMkLst>
            <pc:docMk/>
            <pc:sldMk cId="1910007894" sldId="289"/>
            <ac:spMk id="6" creationId="{28BC73D1-02B9-4680-BF41-02F9526B3D0A}"/>
          </ac:spMkLst>
        </pc:spChg>
        <pc:graphicFrameChg chg="add mod ord modGraphic">
          <ac:chgData name="Andre Batenburg" userId="c6030a91-3587-4b0c-9a04-30c274d4b5d3" providerId="ADAL" clId="{6F39825D-C84F-4FE0-BC11-0A21A573BDA4}" dt="2021-07-15T15:16:20.062" v="2561" actId="2165"/>
          <ac:graphicFrameMkLst>
            <pc:docMk/>
            <pc:sldMk cId="1910007894" sldId="289"/>
            <ac:graphicFrameMk id="7" creationId="{FA3BA9BB-0A72-47A8-9FB2-78B7DCEFB251}"/>
          </ac:graphicFrameMkLst>
        </pc:graphicFrameChg>
      </pc:sldChg>
      <pc:sldChg chg="modSp add mod">
        <pc:chgData name="Andre Batenburg" userId="c6030a91-3587-4b0c-9a04-30c274d4b5d3" providerId="ADAL" clId="{6F39825D-C84F-4FE0-BC11-0A21A573BDA4}" dt="2021-07-15T15:13:30.326" v="2557"/>
        <pc:sldMkLst>
          <pc:docMk/>
          <pc:sldMk cId="3498502278" sldId="290"/>
        </pc:sldMkLst>
        <pc:spChg chg="mod">
          <ac:chgData name="Andre Batenburg" userId="c6030a91-3587-4b0c-9a04-30c274d4b5d3" providerId="ADAL" clId="{6F39825D-C84F-4FE0-BC11-0A21A573BDA4}" dt="2021-07-15T15:00:01.215" v="2494" actId="6549"/>
          <ac:spMkLst>
            <pc:docMk/>
            <pc:sldMk cId="3498502278" sldId="290"/>
            <ac:spMk id="2" creationId="{62FC119F-15DB-4751-9A2B-27FB1B07E8A5}"/>
          </ac:spMkLst>
        </pc:spChg>
        <pc:spChg chg="mod">
          <ac:chgData name="Andre Batenburg" userId="c6030a91-3587-4b0c-9a04-30c274d4b5d3" providerId="ADAL" clId="{6F39825D-C84F-4FE0-BC11-0A21A573BDA4}" dt="2021-07-15T14:16:44.789" v="2367" actId="1036"/>
          <ac:spMkLst>
            <pc:docMk/>
            <pc:sldMk cId="3498502278" sldId="290"/>
            <ac:spMk id="3" creationId="{CD972408-CF28-43F2-B207-7D5B4304B6EE}"/>
          </ac:spMkLst>
        </pc:spChg>
        <pc:graphicFrameChg chg="mod modGraphic">
          <ac:chgData name="Andre Batenburg" userId="c6030a91-3587-4b0c-9a04-30c274d4b5d3" providerId="ADAL" clId="{6F39825D-C84F-4FE0-BC11-0A21A573BDA4}" dt="2021-07-15T15:13:30.326" v="2557"/>
          <ac:graphicFrameMkLst>
            <pc:docMk/>
            <pc:sldMk cId="3498502278" sldId="290"/>
            <ac:graphicFrameMk id="7" creationId="{FA3BA9BB-0A72-47A8-9FB2-78B7DCEFB251}"/>
          </ac:graphicFrameMkLst>
        </pc:graphicFrameChg>
      </pc:sldChg>
      <pc:sldChg chg="modSp add mod">
        <pc:chgData name="Andre Batenburg" userId="c6030a91-3587-4b0c-9a04-30c274d4b5d3" providerId="ADAL" clId="{6F39825D-C84F-4FE0-BC11-0A21A573BDA4}" dt="2021-07-15T15:14:46.831" v="2560" actId="2165"/>
        <pc:sldMkLst>
          <pc:docMk/>
          <pc:sldMk cId="358537123" sldId="291"/>
        </pc:sldMkLst>
        <pc:spChg chg="mod">
          <ac:chgData name="Andre Batenburg" userId="c6030a91-3587-4b0c-9a04-30c274d4b5d3" providerId="ADAL" clId="{6F39825D-C84F-4FE0-BC11-0A21A573BDA4}" dt="2021-07-15T15:00:24.582" v="2497" actId="6549"/>
          <ac:spMkLst>
            <pc:docMk/>
            <pc:sldMk cId="358537123" sldId="291"/>
            <ac:spMk id="2" creationId="{62FC119F-15DB-4751-9A2B-27FB1B07E8A5}"/>
          </ac:spMkLst>
        </pc:spChg>
        <pc:graphicFrameChg chg="mod modGraphic">
          <ac:chgData name="Andre Batenburg" userId="c6030a91-3587-4b0c-9a04-30c274d4b5d3" providerId="ADAL" clId="{6F39825D-C84F-4FE0-BC11-0A21A573BDA4}" dt="2021-07-15T15:14:46.831" v="2560" actId="2165"/>
          <ac:graphicFrameMkLst>
            <pc:docMk/>
            <pc:sldMk cId="358537123" sldId="291"/>
            <ac:graphicFrameMk id="7" creationId="{FA3BA9BB-0A72-47A8-9FB2-78B7DCEFB251}"/>
          </ac:graphicFrameMkLst>
        </pc:graphicFrameChg>
      </pc:sldChg>
    </pc:docChg>
  </pc:docChgLst>
  <pc:docChgLst>
    <pc:chgData name="Andre Batenburg" userId="c6030a91-3587-4b0c-9a04-30c274d4b5d3" providerId="ADAL" clId="{8FAD66B6-DA02-40B7-AE96-2D294D38E4EA}"/>
    <pc:docChg chg="modSld">
      <pc:chgData name="Andre Batenburg" userId="c6030a91-3587-4b0c-9a04-30c274d4b5d3" providerId="ADAL" clId="{8FAD66B6-DA02-40B7-AE96-2D294D38E4EA}" dt="2021-07-23T14:27:15.085" v="14"/>
      <pc:docMkLst>
        <pc:docMk/>
      </pc:docMkLst>
      <pc:sldChg chg="modSp mod">
        <pc:chgData name="Andre Batenburg" userId="c6030a91-3587-4b0c-9a04-30c274d4b5d3" providerId="ADAL" clId="{8FAD66B6-DA02-40B7-AE96-2D294D38E4EA}" dt="2021-07-23T14:27:15.085" v="14"/>
        <pc:sldMkLst>
          <pc:docMk/>
          <pc:sldMk cId="3850271385" sldId="271"/>
        </pc:sldMkLst>
        <pc:spChg chg="mod">
          <ac:chgData name="Andre Batenburg" userId="c6030a91-3587-4b0c-9a04-30c274d4b5d3" providerId="ADAL" clId="{8FAD66B6-DA02-40B7-AE96-2D294D38E4EA}" dt="2021-07-23T14:27:15.085" v="14"/>
          <ac:spMkLst>
            <pc:docMk/>
            <pc:sldMk cId="3850271385" sldId="271"/>
            <ac:spMk id="5" creationId="{C395AE4E-A7D8-464A-9B23-4747629AD39C}"/>
          </ac:spMkLst>
        </pc:spChg>
      </pc:sldChg>
    </pc:docChg>
  </pc:docChgLst>
  <pc:docChgLst>
    <pc:chgData name="Andre Batenburg" userId="c6030a91-3587-4b0c-9a04-30c274d4b5d3" providerId="ADAL" clId="{4061C08D-D9C7-471C-BDC5-38AF88A25E5A}"/>
    <pc:docChg chg="undo custSel addSld delSld modSld sldOrd">
      <pc:chgData name="Andre Batenburg" userId="c6030a91-3587-4b0c-9a04-30c274d4b5d3" providerId="ADAL" clId="{4061C08D-D9C7-471C-BDC5-38AF88A25E5A}" dt="2021-07-05T15:56:04.018" v="5853" actId="6549"/>
      <pc:docMkLst>
        <pc:docMk/>
      </pc:docMkLst>
      <pc:sldChg chg="modSp mod">
        <pc:chgData name="Andre Batenburg" userId="c6030a91-3587-4b0c-9a04-30c274d4b5d3" providerId="ADAL" clId="{4061C08D-D9C7-471C-BDC5-38AF88A25E5A}" dt="2021-07-05T15:55:58.378" v="5851" actId="6549"/>
        <pc:sldMkLst>
          <pc:docMk/>
          <pc:sldMk cId="3434545749" sldId="257"/>
        </pc:sldMkLst>
        <pc:spChg chg="mod">
          <ac:chgData name="Andre Batenburg" userId="c6030a91-3587-4b0c-9a04-30c274d4b5d3" providerId="ADAL" clId="{4061C08D-D9C7-471C-BDC5-38AF88A25E5A}" dt="2021-07-05T15:55:58.378" v="5851" actId="6549"/>
          <ac:spMkLst>
            <pc:docMk/>
            <pc:sldMk cId="3434545749" sldId="257"/>
            <ac:spMk id="5" creationId="{00000000-0000-0000-0000-000000000000}"/>
          </ac:spMkLst>
        </pc:spChg>
        <pc:spChg chg="mod">
          <ac:chgData name="Andre Batenburg" userId="c6030a91-3587-4b0c-9a04-30c274d4b5d3" providerId="ADAL" clId="{4061C08D-D9C7-471C-BDC5-38AF88A25E5A}" dt="2021-07-02T14:03:01.141" v="2443" actId="6549"/>
          <ac:spMkLst>
            <pc:docMk/>
            <pc:sldMk cId="3434545749" sldId="257"/>
            <ac:spMk id="6" creationId="{00000000-0000-0000-0000-000000000000}"/>
          </ac:spMkLst>
        </pc:spChg>
        <pc:spChg chg="mod">
          <ac:chgData name="Andre Batenburg" userId="c6030a91-3587-4b0c-9a04-30c274d4b5d3" providerId="ADAL" clId="{4061C08D-D9C7-471C-BDC5-38AF88A25E5A}" dt="2021-07-02T13:04:51.855" v="19" actId="20577"/>
          <ac:spMkLst>
            <pc:docMk/>
            <pc:sldMk cId="3434545749" sldId="257"/>
            <ac:spMk id="7" creationId="{00000000-0000-0000-0000-000000000000}"/>
          </ac:spMkLst>
        </pc:spChg>
      </pc:sldChg>
      <pc:sldChg chg="del">
        <pc:chgData name="Andre Batenburg" userId="c6030a91-3587-4b0c-9a04-30c274d4b5d3" providerId="ADAL" clId="{4061C08D-D9C7-471C-BDC5-38AF88A25E5A}" dt="2021-07-02T13:05:34.687" v="77" actId="47"/>
        <pc:sldMkLst>
          <pc:docMk/>
          <pc:sldMk cId="2329034991" sldId="268"/>
        </pc:sldMkLst>
      </pc:sldChg>
      <pc:sldChg chg="del">
        <pc:chgData name="Andre Batenburg" userId="c6030a91-3587-4b0c-9a04-30c274d4b5d3" providerId="ADAL" clId="{4061C08D-D9C7-471C-BDC5-38AF88A25E5A}" dt="2021-07-02T13:05:33.221" v="76" actId="47"/>
        <pc:sldMkLst>
          <pc:docMk/>
          <pc:sldMk cId="2215957502" sldId="270"/>
        </pc:sldMkLst>
      </pc:sldChg>
      <pc:sldChg chg="addSp delSp modSp mod modClrScheme chgLayout">
        <pc:chgData name="Andre Batenburg" userId="c6030a91-3587-4b0c-9a04-30c274d4b5d3" providerId="ADAL" clId="{4061C08D-D9C7-471C-BDC5-38AF88A25E5A}" dt="2021-07-05T15:56:04.018" v="5853" actId="6549"/>
        <pc:sldMkLst>
          <pc:docMk/>
          <pc:sldMk cId="3850271385" sldId="271"/>
        </pc:sldMkLst>
        <pc:spChg chg="mod ord">
          <ac:chgData name="Andre Batenburg" userId="c6030a91-3587-4b0c-9a04-30c274d4b5d3" providerId="ADAL" clId="{4061C08D-D9C7-471C-BDC5-38AF88A25E5A}" dt="2021-07-02T13:06:08.766" v="94" actId="700"/>
          <ac:spMkLst>
            <pc:docMk/>
            <pc:sldMk cId="3850271385" sldId="271"/>
            <ac:spMk id="2" creationId="{D7969EDB-EE8E-4BD6-B931-457A7A3E04AC}"/>
          </ac:spMkLst>
        </pc:spChg>
        <pc:spChg chg="del mod ord">
          <ac:chgData name="Andre Batenburg" userId="c6030a91-3587-4b0c-9a04-30c274d4b5d3" providerId="ADAL" clId="{4061C08D-D9C7-471C-BDC5-38AF88A25E5A}" dt="2021-07-02T13:06:08.766" v="94" actId="700"/>
          <ac:spMkLst>
            <pc:docMk/>
            <pc:sldMk cId="3850271385" sldId="271"/>
            <ac:spMk id="3" creationId="{3F12C61C-D37A-4F79-87A9-88CF0882879D}"/>
          </ac:spMkLst>
        </pc:spChg>
        <pc:spChg chg="add mod ord">
          <ac:chgData name="Andre Batenburg" userId="c6030a91-3587-4b0c-9a04-30c274d4b5d3" providerId="ADAL" clId="{4061C08D-D9C7-471C-BDC5-38AF88A25E5A}" dt="2021-07-05T15:56:04.018" v="5853" actId="6549"/>
          <ac:spMkLst>
            <pc:docMk/>
            <pc:sldMk cId="3850271385" sldId="271"/>
            <ac:spMk id="4" creationId="{4A7D0E74-ED2F-40F1-AC19-B7534DC6379E}"/>
          </ac:spMkLst>
        </pc:spChg>
        <pc:spChg chg="add mod ord">
          <ac:chgData name="Andre Batenburg" userId="c6030a91-3587-4b0c-9a04-30c274d4b5d3" providerId="ADAL" clId="{4061C08D-D9C7-471C-BDC5-38AF88A25E5A}" dt="2021-07-02T13:07:12.143" v="107" actId="14100"/>
          <ac:spMkLst>
            <pc:docMk/>
            <pc:sldMk cId="3850271385" sldId="271"/>
            <ac:spMk id="5" creationId="{C395AE4E-A7D8-464A-9B23-4747629AD39C}"/>
          </ac:spMkLst>
        </pc:spChg>
      </pc:sldChg>
      <pc:sldChg chg="modSp new mod">
        <pc:chgData name="Andre Batenburg" userId="c6030a91-3587-4b0c-9a04-30c274d4b5d3" providerId="ADAL" clId="{4061C08D-D9C7-471C-BDC5-38AF88A25E5A}" dt="2021-07-05T15:55:38.189" v="5849" actId="20577"/>
        <pc:sldMkLst>
          <pc:docMk/>
          <pc:sldMk cId="633113847" sldId="272"/>
        </pc:sldMkLst>
        <pc:spChg chg="mod">
          <ac:chgData name="Andre Batenburg" userId="c6030a91-3587-4b0c-9a04-30c274d4b5d3" providerId="ADAL" clId="{4061C08D-D9C7-471C-BDC5-38AF88A25E5A}" dt="2021-07-02T13:13:03.360" v="171" actId="20577"/>
          <ac:spMkLst>
            <pc:docMk/>
            <pc:sldMk cId="633113847" sldId="272"/>
            <ac:spMk id="2" creationId="{3E26A5EE-DC95-4D45-B59D-BA8483206797}"/>
          </ac:spMkLst>
        </pc:spChg>
        <pc:spChg chg="mod">
          <ac:chgData name="Andre Batenburg" userId="c6030a91-3587-4b0c-9a04-30c274d4b5d3" providerId="ADAL" clId="{4061C08D-D9C7-471C-BDC5-38AF88A25E5A}" dt="2021-07-05T15:55:38.189" v="5849" actId="20577"/>
          <ac:spMkLst>
            <pc:docMk/>
            <pc:sldMk cId="633113847" sldId="272"/>
            <ac:spMk id="3" creationId="{1EE97491-D281-459D-8388-B4E0EC3AAE6C}"/>
          </ac:spMkLst>
        </pc:spChg>
      </pc:sldChg>
      <pc:sldChg chg="del">
        <pc:chgData name="Andre Batenburg" userId="c6030a91-3587-4b0c-9a04-30c274d4b5d3" providerId="ADAL" clId="{4061C08D-D9C7-471C-BDC5-38AF88A25E5A}" dt="2021-07-02T13:05:30.322" v="75" actId="47"/>
        <pc:sldMkLst>
          <pc:docMk/>
          <pc:sldMk cId="1074066283" sldId="272"/>
        </pc:sldMkLst>
      </pc:sldChg>
      <pc:sldChg chg="modSp new mod">
        <pc:chgData name="Andre Batenburg" userId="c6030a91-3587-4b0c-9a04-30c274d4b5d3" providerId="ADAL" clId="{4061C08D-D9C7-471C-BDC5-38AF88A25E5A}" dt="2021-07-05T15:26:55.276" v="3093" actId="20577"/>
        <pc:sldMkLst>
          <pc:docMk/>
          <pc:sldMk cId="3529786210" sldId="273"/>
        </pc:sldMkLst>
        <pc:spChg chg="mod">
          <ac:chgData name="Andre Batenburg" userId="c6030a91-3587-4b0c-9a04-30c274d4b5d3" providerId="ADAL" clId="{4061C08D-D9C7-471C-BDC5-38AF88A25E5A}" dt="2021-07-02T13:29:02.878" v="813" actId="20577"/>
          <ac:spMkLst>
            <pc:docMk/>
            <pc:sldMk cId="3529786210" sldId="273"/>
            <ac:spMk id="2" creationId="{77153B30-C3E5-4159-876F-F3F53110481D}"/>
          </ac:spMkLst>
        </pc:spChg>
        <pc:spChg chg="mod">
          <ac:chgData name="Andre Batenburg" userId="c6030a91-3587-4b0c-9a04-30c274d4b5d3" providerId="ADAL" clId="{4061C08D-D9C7-471C-BDC5-38AF88A25E5A}" dt="2021-07-05T15:26:55.276" v="3093" actId="20577"/>
          <ac:spMkLst>
            <pc:docMk/>
            <pc:sldMk cId="3529786210" sldId="273"/>
            <ac:spMk id="3" creationId="{C211C2AD-0BAA-4F9C-BB4C-FBEAA913AE45}"/>
          </ac:spMkLst>
        </pc:spChg>
      </pc:sldChg>
      <pc:sldChg chg="modSp new mod">
        <pc:chgData name="Andre Batenburg" userId="c6030a91-3587-4b0c-9a04-30c274d4b5d3" providerId="ADAL" clId="{4061C08D-D9C7-471C-BDC5-38AF88A25E5A}" dt="2021-07-02T14:11:30.426" v="3005" actId="20577"/>
        <pc:sldMkLst>
          <pc:docMk/>
          <pc:sldMk cId="3225462457" sldId="274"/>
        </pc:sldMkLst>
        <pc:spChg chg="mod">
          <ac:chgData name="Andre Batenburg" userId="c6030a91-3587-4b0c-9a04-30c274d4b5d3" providerId="ADAL" clId="{4061C08D-D9C7-471C-BDC5-38AF88A25E5A}" dt="2021-07-02T13:54:06.965" v="1542" actId="20577"/>
          <ac:spMkLst>
            <pc:docMk/>
            <pc:sldMk cId="3225462457" sldId="274"/>
            <ac:spMk id="2" creationId="{20028E98-8EFA-422D-9D52-104888A41AB4}"/>
          </ac:spMkLst>
        </pc:spChg>
        <pc:spChg chg="mod">
          <ac:chgData name="Andre Batenburg" userId="c6030a91-3587-4b0c-9a04-30c274d4b5d3" providerId="ADAL" clId="{4061C08D-D9C7-471C-BDC5-38AF88A25E5A}" dt="2021-07-02T14:11:30.426" v="3005" actId="20577"/>
          <ac:spMkLst>
            <pc:docMk/>
            <pc:sldMk cId="3225462457" sldId="274"/>
            <ac:spMk id="3" creationId="{C20D9B0B-D5CA-4A31-8CDF-FC0F5316CF08}"/>
          </ac:spMkLst>
        </pc:spChg>
      </pc:sldChg>
      <pc:sldChg chg="addSp modSp new mod modClrScheme chgLayout">
        <pc:chgData name="Andre Batenburg" userId="c6030a91-3587-4b0c-9a04-30c274d4b5d3" providerId="ADAL" clId="{4061C08D-D9C7-471C-BDC5-38AF88A25E5A}" dt="2021-07-02T14:14:09.639" v="3067" actId="26606"/>
        <pc:sldMkLst>
          <pc:docMk/>
          <pc:sldMk cId="3813584481" sldId="275"/>
        </pc:sldMkLst>
        <pc:spChg chg="mod ord">
          <ac:chgData name="Andre Batenburg" userId="c6030a91-3587-4b0c-9a04-30c274d4b5d3" providerId="ADAL" clId="{4061C08D-D9C7-471C-BDC5-38AF88A25E5A}" dt="2021-07-02T14:14:09.639" v="3067" actId="26606"/>
          <ac:spMkLst>
            <pc:docMk/>
            <pc:sldMk cId="3813584481" sldId="275"/>
            <ac:spMk id="2" creationId="{C182BAB8-5C38-4557-9FA6-1A98C5655277}"/>
          </ac:spMkLst>
        </pc:spChg>
        <pc:spChg chg="mod ord">
          <ac:chgData name="Andre Batenburg" userId="c6030a91-3587-4b0c-9a04-30c274d4b5d3" providerId="ADAL" clId="{4061C08D-D9C7-471C-BDC5-38AF88A25E5A}" dt="2021-07-02T14:14:09.639" v="3067" actId="26606"/>
          <ac:spMkLst>
            <pc:docMk/>
            <pc:sldMk cId="3813584481" sldId="275"/>
            <ac:spMk id="3" creationId="{430713CF-9482-4FA1-936B-D9A2F9143D2D}"/>
          </ac:spMkLst>
        </pc:spChg>
        <pc:spChg chg="mod">
          <ac:chgData name="Andre Batenburg" userId="c6030a91-3587-4b0c-9a04-30c274d4b5d3" providerId="ADAL" clId="{4061C08D-D9C7-471C-BDC5-38AF88A25E5A}" dt="2021-07-02T14:14:09.639" v="3067" actId="26606"/>
          <ac:spMkLst>
            <pc:docMk/>
            <pc:sldMk cId="3813584481" sldId="275"/>
            <ac:spMk id="4" creationId="{2D34E113-9A2A-4671-8CC4-870790B642BD}"/>
          </ac:spMkLst>
        </pc:spChg>
        <pc:picChg chg="add mod">
          <ac:chgData name="Andre Batenburg" userId="c6030a91-3587-4b0c-9a04-30c274d4b5d3" providerId="ADAL" clId="{4061C08D-D9C7-471C-BDC5-38AF88A25E5A}" dt="2021-07-02T14:14:09.639" v="3067" actId="26606"/>
          <ac:picMkLst>
            <pc:docMk/>
            <pc:sldMk cId="3813584481" sldId="275"/>
            <ac:picMk id="6" creationId="{082CC70A-0203-4866-BE70-286443CCFDE0}"/>
          </ac:picMkLst>
        </pc:picChg>
      </pc:sldChg>
      <pc:sldChg chg="addSp modSp add mod modClrScheme chgLayout">
        <pc:chgData name="Andre Batenburg" userId="c6030a91-3587-4b0c-9a04-30c274d4b5d3" providerId="ADAL" clId="{4061C08D-D9C7-471C-BDC5-38AF88A25E5A}" dt="2021-07-02T14:14:30.397" v="3069" actId="26606"/>
        <pc:sldMkLst>
          <pc:docMk/>
          <pc:sldMk cId="3230109392" sldId="276"/>
        </pc:sldMkLst>
        <pc:spChg chg="mod ord">
          <ac:chgData name="Andre Batenburg" userId="c6030a91-3587-4b0c-9a04-30c274d4b5d3" providerId="ADAL" clId="{4061C08D-D9C7-471C-BDC5-38AF88A25E5A}" dt="2021-07-02T14:14:30.397" v="3069" actId="26606"/>
          <ac:spMkLst>
            <pc:docMk/>
            <pc:sldMk cId="3230109392" sldId="276"/>
            <ac:spMk id="2" creationId="{C182BAB8-5C38-4557-9FA6-1A98C5655277}"/>
          </ac:spMkLst>
        </pc:spChg>
        <pc:spChg chg="mod ord">
          <ac:chgData name="Andre Batenburg" userId="c6030a91-3587-4b0c-9a04-30c274d4b5d3" providerId="ADAL" clId="{4061C08D-D9C7-471C-BDC5-38AF88A25E5A}" dt="2021-07-02T14:14:30.397" v="3069" actId="26606"/>
          <ac:spMkLst>
            <pc:docMk/>
            <pc:sldMk cId="3230109392" sldId="276"/>
            <ac:spMk id="3" creationId="{430713CF-9482-4FA1-936B-D9A2F9143D2D}"/>
          </ac:spMkLst>
        </pc:spChg>
        <pc:spChg chg="mod">
          <ac:chgData name="Andre Batenburg" userId="c6030a91-3587-4b0c-9a04-30c274d4b5d3" providerId="ADAL" clId="{4061C08D-D9C7-471C-BDC5-38AF88A25E5A}" dt="2021-07-02T14:14:30.397" v="3069" actId="26606"/>
          <ac:spMkLst>
            <pc:docMk/>
            <pc:sldMk cId="3230109392" sldId="276"/>
            <ac:spMk id="4" creationId="{2D34E113-9A2A-4671-8CC4-870790B642BD}"/>
          </ac:spMkLst>
        </pc:spChg>
        <pc:picChg chg="add mod">
          <ac:chgData name="Andre Batenburg" userId="c6030a91-3587-4b0c-9a04-30c274d4b5d3" providerId="ADAL" clId="{4061C08D-D9C7-471C-BDC5-38AF88A25E5A}" dt="2021-07-02T14:14:30.397" v="3069" actId="26606"/>
          <ac:picMkLst>
            <pc:docMk/>
            <pc:sldMk cId="3230109392" sldId="276"/>
            <ac:picMk id="6" creationId="{DDCD1A39-00BB-4330-A253-B82EB24A7256}"/>
          </ac:picMkLst>
        </pc:picChg>
      </pc:sldChg>
      <pc:sldChg chg="addSp modSp add mod modClrScheme chgLayout">
        <pc:chgData name="Andre Batenburg" userId="c6030a91-3587-4b0c-9a04-30c274d4b5d3" providerId="ADAL" clId="{4061C08D-D9C7-471C-BDC5-38AF88A25E5A}" dt="2021-07-02T14:14:53.176" v="3071" actId="26606"/>
        <pc:sldMkLst>
          <pc:docMk/>
          <pc:sldMk cId="3371048381" sldId="277"/>
        </pc:sldMkLst>
        <pc:spChg chg="mod ord">
          <ac:chgData name="Andre Batenburg" userId="c6030a91-3587-4b0c-9a04-30c274d4b5d3" providerId="ADAL" clId="{4061C08D-D9C7-471C-BDC5-38AF88A25E5A}" dt="2021-07-02T14:14:53.176" v="3071" actId="26606"/>
          <ac:spMkLst>
            <pc:docMk/>
            <pc:sldMk cId="3371048381" sldId="277"/>
            <ac:spMk id="2" creationId="{C182BAB8-5C38-4557-9FA6-1A98C5655277}"/>
          </ac:spMkLst>
        </pc:spChg>
        <pc:spChg chg="mod ord">
          <ac:chgData name="Andre Batenburg" userId="c6030a91-3587-4b0c-9a04-30c274d4b5d3" providerId="ADAL" clId="{4061C08D-D9C7-471C-BDC5-38AF88A25E5A}" dt="2021-07-02T14:14:53.176" v="3071" actId="26606"/>
          <ac:spMkLst>
            <pc:docMk/>
            <pc:sldMk cId="3371048381" sldId="277"/>
            <ac:spMk id="3" creationId="{430713CF-9482-4FA1-936B-D9A2F9143D2D}"/>
          </ac:spMkLst>
        </pc:spChg>
        <pc:spChg chg="mod">
          <ac:chgData name="Andre Batenburg" userId="c6030a91-3587-4b0c-9a04-30c274d4b5d3" providerId="ADAL" clId="{4061C08D-D9C7-471C-BDC5-38AF88A25E5A}" dt="2021-07-02T14:14:53.176" v="3071" actId="26606"/>
          <ac:spMkLst>
            <pc:docMk/>
            <pc:sldMk cId="3371048381" sldId="277"/>
            <ac:spMk id="4" creationId="{2D34E113-9A2A-4671-8CC4-870790B642BD}"/>
          </ac:spMkLst>
        </pc:spChg>
        <pc:picChg chg="add mod">
          <ac:chgData name="Andre Batenburg" userId="c6030a91-3587-4b0c-9a04-30c274d4b5d3" providerId="ADAL" clId="{4061C08D-D9C7-471C-BDC5-38AF88A25E5A}" dt="2021-07-02T14:14:53.176" v="3071" actId="26606"/>
          <ac:picMkLst>
            <pc:docMk/>
            <pc:sldMk cId="3371048381" sldId="277"/>
            <ac:picMk id="6" creationId="{88C765A0-7B7C-4F97-B167-880FE0190384}"/>
          </ac:picMkLst>
        </pc:picChg>
      </pc:sldChg>
      <pc:sldChg chg="addSp delSp modSp new mod ord">
        <pc:chgData name="Andre Batenburg" userId="c6030a91-3587-4b0c-9a04-30c274d4b5d3" providerId="ADAL" clId="{4061C08D-D9C7-471C-BDC5-38AF88A25E5A}" dt="2021-07-05T15:39:23.083" v="4206" actId="14100"/>
        <pc:sldMkLst>
          <pc:docMk/>
          <pc:sldMk cId="3368204608" sldId="278"/>
        </pc:sldMkLst>
        <pc:spChg chg="mod">
          <ac:chgData name="Andre Batenburg" userId="c6030a91-3587-4b0c-9a04-30c274d4b5d3" providerId="ADAL" clId="{4061C08D-D9C7-471C-BDC5-38AF88A25E5A}" dt="2021-07-02T15:35:11.061" v="3089" actId="26606"/>
          <ac:spMkLst>
            <pc:docMk/>
            <pc:sldMk cId="3368204608" sldId="278"/>
            <ac:spMk id="2" creationId="{1BF4EC6A-9F31-4A96-9827-48617C19E8A7}"/>
          </ac:spMkLst>
        </pc:spChg>
        <pc:spChg chg="del">
          <ac:chgData name="Andre Batenburg" userId="c6030a91-3587-4b0c-9a04-30c274d4b5d3" providerId="ADAL" clId="{4061C08D-D9C7-471C-BDC5-38AF88A25E5A}" dt="2021-07-02T15:34:54.004" v="3087" actId="478"/>
          <ac:spMkLst>
            <pc:docMk/>
            <pc:sldMk cId="3368204608" sldId="278"/>
            <ac:spMk id="3" creationId="{94C4DE2A-A7C7-4219-87F5-326D65F9BD80}"/>
          </ac:spMkLst>
        </pc:spChg>
        <pc:spChg chg="mod">
          <ac:chgData name="Andre Batenburg" userId="c6030a91-3587-4b0c-9a04-30c274d4b5d3" providerId="ADAL" clId="{4061C08D-D9C7-471C-BDC5-38AF88A25E5A}" dt="2021-07-02T15:35:11.061" v="3089" actId="26606"/>
          <ac:spMkLst>
            <pc:docMk/>
            <pc:sldMk cId="3368204608" sldId="278"/>
            <ac:spMk id="4" creationId="{7AB6D430-5963-4E14-96EA-1171AC30AF31}"/>
          </ac:spMkLst>
        </pc:spChg>
        <pc:spChg chg="mod">
          <ac:chgData name="Andre Batenburg" userId="c6030a91-3587-4b0c-9a04-30c274d4b5d3" providerId="ADAL" clId="{4061C08D-D9C7-471C-BDC5-38AF88A25E5A}" dt="2021-07-02T15:35:11.061" v="3089" actId="26606"/>
          <ac:spMkLst>
            <pc:docMk/>
            <pc:sldMk cId="3368204608" sldId="278"/>
            <ac:spMk id="5" creationId="{DAF9F43F-1025-4473-93F9-1B65D57967B4}"/>
          </ac:spMkLst>
        </pc:spChg>
        <pc:picChg chg="add mod ord">
          <ac:chgData name="Andre Batenburg" userId="c6030a91-3587-4b0c-9a04-30c274d4b5d3" providerId="ADAL" clId="{4061C08D-D9C7-471C-BDC5-38AF88A25E5A}" dt="2021-07-05T15:39:23.083" v="4206" actId="14100"/>
          <ac:picMkLst>
            <pc:docMk/>
            <pc:sldMk cId="3368204608" sldId="278"/>
            <ac:picMk id="6" creationId="{97102A06-4BF5-4058-86EF-9FB2C4B074B3}"/>
          </ac:picMkLst>
        </pc:picChg>
        <pc:picChg chg="add del mod ord">
          <ac:chgData name="Andre Batenburg" userId="c6030a91-3587-4b0c-9a04-30c274d4b5d3" providerId="ADAL" clId="{4061C08D-D9C7-471C-BDC5-38AF88A25E5A}" dt="2021-07-05T15:38:35.681" v="4203" actId="478"/>
          <ac:picMkLst>
            <pc:docMk/>
            <pc:sldMk cId="3368204608" sldId="278"/>
            <ac:picMk id="7" creationId="{7B8A3F24-12B0-4455-A0F6-E6A990B8A45D}"/>
          </ac:picMkLst>
        </pc:picChg>
      </pc:sldChg>
      <pc:sldChg chg="modSp add mod">
        <pc:chgData name="Andre Batenburg" userId="c6030a91-3587-4b0c-9a04-30c274d4b5d3" providerId="ADAL" clId="{4061C08D-D9C7-471C-BDC5-38AF88A25E5A}" dt="2021-07-05T15:41:38.254" v="4370" actId="115"/>
        <pc:sldMkLst>
          <pc:docMk/>
          <pc:sldMk cId="441838562" sldId="279"/>
        </pc:sldMkLst>
        <pc:spChg chg="mod">
          <ac:chgData name="Andre Batenburg" userId="c6030a91-3587-4b0c-9a04-30c274d4b5d3" providerId="ADAL" clId="{4061C08D-D9C7-471C-BDC5-38AF88A25E5A}" dt="2021-07-05T15:38:15.919" v="4202" actId="6549"/>
          <ac:spMkLst>
            <pc:docMk/>
            <pc:sldMk cId="441838562" sldId="279"/>
            <ac:spMk id="2" creationId="{3E26A5EE-DC95-4D45-B59D-BA8483206797}"/>
          </ac:spMkLst>
        </pc:spChg>
        <pc:spChg chg="mod">
          <ac:chgData name="Andre Batenburg" userId="c6030a91-3587-4b0c-9a04-30c274d4b5d3" providerId="ADAL" clId="{4061C08D-D9C7-471C-BDC5-38AF88A25E5A}" dt="2021-07-05T15:41:38.254" v="4370" actId="115"/>
          <ac:spMkLst>
            <pc:docMk/>
            <pc:sldMk cId="441838562" sldId="279"/>
            <ac:spMk id="3" creationId="{1EE97491-D281-459D-8388-B4E0EC3AAE6C}"/>
          </ac:spMkLst>
        </pc:spChg>
      </pc:sldChg>
      <pc:sldChg chg="modSp add mod">
        <pc:chgData name="Andre Batenburg" userId="c6030a91-3587-4b0c-9a04-30c274d4b5d3" providerId="ADAL" clId="{4061C08D-D9C7-471C-BDC5-38AF88A25E5A}" dt="2021-07-05T15:52:44.363" v="5603" actId="20577"/>
        <pc:sldMkLst>
          <pc:docMk/>
          <pc:sldMk cId="912891240" sldId="280"/>
        </pc:sldMkLst>
        <pc:spChg chg="mod">
          <ac:chgData name="Andre Batenburg" userId="c6030a91-3587-4b0c-9a04-30c274d4b5d3" providerId="ADAL" clId="{4061C08D-D9C7-471C-BDC5-38AF88A25E5A}" dt="2021-07-05T15:41:59.639" v="4386" actId="6549"/>
          <ac:spMkLst>
            <pc:docMk/>
            <pc:sldMk cId="912891240" sldId="280"/>
            <ac:spMk id="2" creationId="{3E26A5EE-DC95-4D45-B59D-BA8483206797}"/>
          </ac:spMkLst>
        </pc:spChg>
        <pc:spChg chg="mod">
          <ac:chgData name="Andre Batenburg" userId="c6030a91-3587-4b0c-9a04-30c274d4b5d3" providerId="ADAL" clId="{4061C08D-D9C7-471C-BDC5-38AF88A25E5A}" dt="2021-07-05T15:52:44.363" v="5603" actId="20577"/>
          <ac:spMkLst>
            <pc:docMk/>
            <pc:sldMk cId="912891240" sldId="280"/>
            <ac:spMk id="3" creationId="{1EE97491-D281-459D-8388-B4E0EC3AAE6C}"/>
          </ac:spMkLst>
        </pc:spChg>
      </pc:sldChg>
      <pc:sldChg chg="addSp delSp modSp add mod">
        <pc:chgData name="Andre Batenburg" userId="c6030a91-3587-4b0c-9a04-30c274d4b5d3" providerId="ADAL" clId="{4061C08D-D9C7-471C-BDC5-38AF88A25E5A}" dt="2021-07-05T15:53:30.305" v="5608" actId="14100"/>
        <pc:sldMkLst>
          <pc:docMk/>
          <pc:sldMk cId="4145162108" sldId="281"/>
        </pc:sldMkLst>
        <pc:spChg chg="mod">
          <ac:chgData name="Andre Batenburg" userId="c6030a91-3587-4b0c-9a04-30c274d4b5d3" providerId="ADAL" clId="{4061C08D-D9C7-471C-BDC5-38AF88A25E5A}" dt="2021-07-05T15:42:39.969" v="4408" actId="6549"/>
          <ac:spMkLst>
            <pc:docMk/>
            <pc:sldMk cId="4145162108" sldId="281"/>
            <ac:spMk id="2" creationId="{1BF4EC6A-9F31-4A96-9827-48617C19E8A7}"/>
          </ac:spMkLst>
        </pc:spChg>
        <pc:picChg chg="del">
          <ac:chgData name="Andre Batenburg" userId="c6030a91-3587-4b0c-9a04-30c274d4b5d3" providerId="ADAL" clId="{4061C08D-D9C7-471C-BDC5-38AF88A25E5A}" dt="2021-07-05T15:42:43.974" v="4409" actId="478"/>
          <ac:picMkLst>
            <pc:docMk/>
            <pc:sldMk cId="4145162108" sldId="281"/>
            <ac:picMk id="6" creationId="{97102A06-4BF5-4058-86EF-9FB2C4B074B3}"/>
          </ac:picMkLst>
        </pc:picChg>
        <pc:picChg chg="add del mod ord">
          <ac:chgData name="Andre Batenburg" userId="c6030a91-3587-4b0c-9a04-30c274d4b5d3" providerId="ADAL" clId="{4061C08D-D9C7-471C-BDC5-38AF88A25E5A}" dt="2021-07-05T15:52:50.653" v="5604" actId="478"/>
          <ac:picMkLst>
            <pc:docMk/>
            <pc:sldMk cId="4145162108" sldId="281"/>
            <ac:picMk id="7" creationId="{F0969D62-5939-408C-9B00-D9C63B7FF851}"/>
          </ac:picMkLst>
        </pc:picChg>
        <pc:picChg chg="add mod ord">
          <ac:chgData name="Andre Batenburg" userId="c6030a91-3587-4b0c-9a04-30c274d4b5d3" providerId="ADAL" clId="{4061C08D-D9C7-471C-BDC5-38AF88A25E5A}" dt="2021-07-05T15:53:30.305" v="5608" actId="14100"/>
          <ac:picMkLst>
            <pc:docMk/>
            <pc:sldMk cId="4145162108" sldId="281"/>
            <ac:picMk id="9" creationId="{384BA2E9-2202-4E49-B2FE-150521586BCD}"/>
          </ac:picMkLst>
        </pc:picChg>
      </pc:sldChg>
      <pc:sldChg chg="add del">
        <pc:chgData name="Andre Batenburg" userId="c6030a91-3587-4b0c-9a04-30c274d4b5d3" providerId="ADAL" clId="{4061C08D-D9C7-471C-BDC5-38AF88A25E5A}" dt="2021-07-05T15:42:26.790" v="4392"/>
        <pc:sldMkLst>
          <pc:docMk/>
          <pc:sldMk cId="4262411611" sldId="281"/>
        </pc:sldMkLst>
      </pc:sldChg>
    </pc:docChg>
  </pc:docChgLst>
  <pc:docChgLst>
    <pc:chgData name="Andre Batenburg" userId="c6030a91-3587-4b0c-9a04-30c274d4b5d3" providerId="ADAL" clId="{6DE10895-4F41-43BA-B8BF-9A4057CB2BD4}"/>
    <pc:docChg chg="modSld">
      <pc:chgData name="Andre Batenburg" userId="c6030a91-3587-4b0c-9a04-30c274d4b5d3" providerId="ADAL" clId="{6DE10895-4F41-43BA-B8BF-9A4057CB2BD4}" dt="2021-07-08T11:28:06.932" v="58"/>
      <pc:docMkLst>
        <pc:docMk/>
      </pc:docMkLst>
      <pc:sldChg chg="modSp mod">
        <pc:chgData name="Andre Batenburg" userId="c6030a91-3587-4b0c-9a04-30c274d4b5d3" providerId="ADAL" clId="{6DE10895-4F41-43BA-B8BF-9A4057CB2BD4}" dt="2021-07-08T11:28:06.932" v="58"/>
        <pc:sldMkLst>
          <pc:docMk/>
          <pc:sldMk cId="3850271385" sldId="271"/>
        </pc:sldMkLst>
        <pc:spChg chg="mod">
          <ac:chgData name="Andre Batenburg" userId="c6030a91-3587-4b0c-9a04-30c274d4b5d3" providerId="ADAL" clId="{6DE10895-4F41-43BA-B8BF-9A4057CB2BD4}" dt="2021-07-08T11:27:11.898" v="53" actId="20577"/>
          <ac:spMkLst>
            <pc:docMk/>
            <pc:sldMk cId="3850271385" sldId="271"/>
            <ac:spMk id="4" creationId="{4A7D0E74-ED2F-40F1-AC19-B7534DC6379E}"/>
          </ac:spMkLst>
        </pc:spChg>
        <pc:spChg chg="mod">
          <ac:chgData name="Andre Batenburg" userId="c6030a91-3587-4b0c-9a04-30c274d4b5d3" providerId="ADAL" clId="{6DE10895-4F41-43BA-B8BF-9A4057CB2BD4}" dt="2021-07-08T11:28:06.932" v="58"/>
          <ac:spMkLst>
            <pc:docMk/>
            <pc:sldMk cId="3850271385" sldId="271"/>
            <ac:spMk id="5" creationId="{C395AE4E-A7D8-464A-9B23-4747629AD39C}"/>
          </ac:spMkLst>
        </pc:spChg>
      </pc:sldChg>
    </pc:docChg>
  </pc:docChgLst>
  <pc:docChgLst>
    <pc:chgData name="Andre Batenburg" userId="c6030a91-3587-4b0c-9a04-30c274d4b5d3" providerId="ADAL" clId="{DD6FAF99-9C14-4DFA-84E0-B32D1B4C3C4C}"/>
    <pc:docChg chg="undo redo custSel addSld delSld modSld">
      <pc:chgData name="Andre Batenburg" userId="c6030a91-3587-4b0c-9a04-30c274d4b5d3" providerId="ADAL" clId="{DD6FAF99-9C14-4DFA-84E0-B32D1B4C3C4C}" dt="2021-12-13T13:52:56.915" v="788" actId="1076"/>
      <pc:docMkLst>
        <pc:docMk/>
      </pc:docMkLst>
      <pc:sldChg chg="modSp mod">
        <pc:chgData name="Andre Batenburg" userId="c6030a91-3587-4b0c-9a04-30c274d4b5d3" providerId="ADAL" clId="{DD6FAF99-9C14-4DFA-84E0-B32D1B4C3C4C}" dt="2021-12-13T12:11:41.844" v="14" actId="14100"/>
        <pc:sldMkLst>
          <pc:docMk/>
          <pc:sldMk cId="3434545749" sldId="257"/>
        </pc:sldMkLst>
        <pc:spChg chg="mod">
          <ac:chgData name="Andre Batenburg" userId="c6030a91-3587-4b0c-9a04-30c274d4b5d3" providerId="ADAL" clId="{DD6FAF99-9C14-4DFA-84E0-B32D1B4C3C4C}" dt="2021-12-13T12:11:41.844" v="14" actId="14100"/>
          <ac:spMkLst>
            <pc:docMk/>
            <pc:sldMk cId="3434545749" sldId="257"/>
            <ac:spMk id="5" creationId="{00000000-0000-0000-0000-000000000000}"/>
          </ac:spMkLst>
        </pc:spChg>
      </pc:sldChg>
      <pc:sldChg chg="modSp mod">
        <pc:chgData name="Andre Batenburg" userId="c6030a91-3587-4b0c-9a04-30c274d4b5d3" providerId="ADAL" clId="{DD6FAF99-9C14-4DFA-84E0-B32D1B4C3C4C}" dt="2021-12-13T12:13:48.709" v="52" actId="14100"/>
        <pc:sldMkLst>
          <pc:docMk/>
          <pc:sldMk cId="3850271385" sldId="271"/>
        </pc:sldMkLst>
        <pc:spChg chg="mod">
          <ac:chgData name="Andre Batenburg" userId="c6030a91-3587-4b0c-9a04-30c274d4b5d3" providerId="ADAL" clId="{DD6FAF99-9C14-4DFA-84E0-B32D1B4C3C4C}" dt="2021-12-13T12:13:32.565" v="50" actId="6549"/>
          <ac:spMkLst>
            <pc:docMk/>
            <pc:sldMk cId="3850271385" sldId="271"/>
            <ac:spMk id="4" creationId="{4A7D0E74-ED2F-40F1-AC19-B7534DC6379E}"/>
          </ac:spMkLst>
        </pc:spChg>
        <pc:spChg chg="mod">
          <ac:chgData name="Andre Batenburg" userId="c6030a91-3587-4b0c-9a04-30c274d4b5d3" providerId="ADAL" clId="{DD6FAF99-9C14-4DFA-84E0-B32D1B4C3C4C}" dt="2021-12-13T12:13:48.709" v="52" actId="14100"/>
          <ac:spMkLst>
            <pc:docMk/>
            <pc:sldMk cId="3850271385" sldId="271"/>
            <ac:spMk id="5" creationId="{C395AE4E-A7D8-464A-9B23-4747629AD39C}"/>
          </ac:spMkLst>
        </pc:spChg>
      </pc:sldChg>
      <pc:sldChg chg="modSp mod">
        <pc:chgData name="Andre Batenburg" userId="c6030a91-3587-4b0c-9a04-30c274d4b5d3" providerId="ADAL" clId="{DD6FAF99-9C14-4DFA-84E0-B32D1B4C3C4C}" dt="2021-12-13T12:38:26.477" v="462" actId="13926"/>
        <pc:sldMkLst>
          <pc:docMk/>
          <pc:sldMk cId="633113847" sldId="272"/>
        </pc:sldMkLst>
        <pc:spChg chg="mod">
          <ac:chgData name="Andre Batenburg" userId="c6030a91-3587-4b0c-9a04-30c274d4b5d3" providerId="ADAL" clId="{DD6FAF99-9C14-4DFA-84E0-B32D1B4C3C4C}" dt="2021-12-13T12:38:26.477" v="462" actId="13926"/>
          <ac:spMkLst>
            <pc:docMk/>
            <pc:sldMk cId="633113847" sldId="272"/>
            <ac:spMk id="3" creationId="{1EE97491-D281-459D-8388-B4E0EC3AAE6C}"/>
          </ac:spMkLst>
        </pc:spChg>
      </pc:sldChg>
      <pc:sldChg chg="modSp mod">
        <pc:chgData name="Andre Batenburg" userId="c6030a91-3587-4b0c-9a04-30c274d4b5d3" providerId="ADAL" clId="{DD6FAF99-9C14-4DFA-84E0-B32D1B4C3C4C}" dt="2021-12-13T13:23:19.729" v="730" actId="6549"/>
        <pc:sldMkLst>
          <pc:docMk/>
          <pc:sldMk cId="3529786210" sldId="273"/>
        </pc:sldMkLst>
        <pc:spChg chg="mod">
          <ac:chgData name="Andre Batenburg" userId="c6030a91-3587-4b0c-9a04-30c274d4b5d3" providerId="ADAL" clId="{DD6FAF99-9C14-4DFA-84E0-B32D1B4C3C4C}" dt="2021-12-13T13:23:19.729" v="730" actId="6549"/>
          <ac:spMkLst>
            <pc:docMk/>
            <pc:sldMk cId="3529786210" sldId="273"/>
            <ac:spMk id="3" creationId="{C211C2AD-0BAA-4F9C-BB4C-FBEAA913AE45}"/>
          </ac:spMkLst>
        </pc:spChg>
      </pc:sldChg>
      <pc:sldChg chg="del">
        <pc:chgData name="Andre Batenburg" userId="c6030a91-3587-4b0c-9a04-30c274d4b5d3" providerId="ADAL" clId="{DD6FAF99-9C14-4DFA-84E0-B32D1B4C3C4C}" dt="2021-12-13T12:38:59.860" v="492" actId="47"/>
        <pc:sldMkLst>
          <pc:docMk/>
          <pc:sldMk cId="3813584481" sldId="275"/>
        </pc:sldMkLst>
      </pc:sldChg>
      <pc:sldChg chg="del">
        <pc:chgData name="Andre Batenburg" userId="c6030a91-3587-4b0c-9a04-30c274d4b5d3" providerId="ADAL" clId="{DD6FAF99-9C14-4DFA-84E0-B32D1B4C3C4C}" dt="2021-12-13T12:40:03.874" v="529" actId="47"/>
        <pc:sldMkLst>
          <pc:docMk/>
          <pc:sldMk cId="3230109392" sldId="276"/>
        </pc:sldMkLst>
      </pc:sldChg>
      <pc:sldChg chg="addSp delSp modSp mod">
        <pc:chgData name="Andre Batenburg" userId="c6030a91-3587-4b0c-9a04-30c274d4b5d3" providerId="ADAL" clId="{DD6FAF99-9C14-4DFA-84E0-B32D1B4C3C4C}" dt="2021-12-13T13:52:56.915" v="788" actId="1076"/>
        <pc:sldMkLst>
          <pc:docMk/>
          <pc:sldMk cId="3371048381" sldId="277"/>
        </pc:sldMkLst>
        <pc:spChg chg="mod">
          <ac:chgData name="Andre Batenburg" userId="c6030a91-3587-4b0c-9a04-30c274d4b5d3" providerId="ADAL" clId="{DD6FAF99-9C14-4DFA-84E0-B32D1B4C3C4C}" dt="2021-12-13T12:41:45.782" v="539" actId="13926"/>
          <ac:spMkLst>
            <pc:docMk/>
            <pc:sldMk cId="3371048381" sldId="277"/>
            <ac:spMk id="4" creationId="{2D34E113-9A2A-4671-8CC4-870790B642BD}"/>
          </ac:spMkLst>
        </pc:spChg>
        <pc:picChg chg="add del mod">
          <ac:chgData name="Andre Batenburg" userId="c6030a91-3587-4b0c-9a04-30c274d4b5d3" providerId="ADAL" clId="{DD6FAF99-9C14-4DFA-84E0-B32D1B4C3C4C}" dt="2021-12-13T13:51:06.036" v="783" actId="478"/>
          <ac:picMkLst>
            <pc:docMk/>
            <pc:sldMk cId="3371048381" sldId="277"/>
            <ac:picMk id="6" creationId="{7734AA06-4F72-4DB3-AFAF-A2E55AF110CB}"/>
          </ac:picMkLst>
        </pc:picChg>
        <pc:picChg chg="del">
          <ac:chgData name="Andre Batenburg" userId="c6030a91-3587-4b0c-9a04-30c274d4b5d3" providerId="ADAL" clId="{DD6FAF99-9C14-4DFA-84E0-B32D1B4C3C4C}" dt="2021-12-13T13:36:44.418" v="742" actId="478"/>
          <ac:picMkLst>
            <pc:docMk/>
            <pc:sldMk cId="3371048381" sldId="277"/>
            <ac:picMk id="7" creationId="{33E18FF2-6512-4A09-AC47-6242B3F68784}"/>
          </ac:picMkLst>
        </pc:picChg>
        <pc:picChg chg="add del mod">
          <ac:chgData name="Andre Batenburg" userId="c6030a91-3587-4b0c-9a04-30c274d4b5d3" providerId="ADAL" clId="{DD6FAF99-9C14-4DFA-84E0-B32D1B4C3C4C}" dt="2021-12-13T13:51:29.094" v="785" actId="931"/>
          <ac:picMkLst>
            <pc:docMk/>
            <pc:sldMk cId="3371048381" sldId="277"/>
            <ac:picMk id="9" creationId="{5ECFDC8E-5A61-49A8-8E52-A555A4352B22}"/>
          </ac:picMkLst>
        </pc:picChg>
        <pc:picChg chg="add mod">
          <ac:chgData name="Andre Batenburg" userId="c6030a91-3587-4b0c-9a04-30c274d4b5d3" providerId="ADAL" clId="{DD6FAF99-9C14-4DFA-84E0-B32D1B4C3C4C}" dt="2021-12-13T13:52:56.915" v="788" actId="1076"/>
          <ac:picMkLst>
            <pc:docMk/>
            <pc:sldMk cId="3371048381" sldId="277"/>
            <ac:picMk id="11" creationId="{7CD2E178-9DDB-43BB-B07F-B8AD6F387157}"/>
          </ac:picMkLst>
        </pc:picChg>
      </pc:sldChg>
      <pc:sldChg chg="del">
        <pc:chgData name="Andre Batenburg" userId="c6030a91-3587-4b0c-9a04-30c274d4b5d3" providerId="ADAL" clId="{DD6FAF99-9C14-4DFA-84E0-B32D1B4C3C4C}" dt="2021-12-13T12:21:57.725" v="115" actId="47"/>
        <pc:sldMkLst>
          <pc:docMk/>
          <pc:sldMk cId="3368204608" sldId="278"/>
        </pc:sldMkLst>
      </pc:sldChg>
      <pc:sldChg chg="modSp mod">
        <pc:chgData name="Andre Batenburg" userId="c6030a91-3587-4b0c-9a04-30c274d4b5d3" providerId="ADAL" clId="{DD6FAF99-9C14-4DFA-84E0-B32D1B4C3C4C}" dt="2021-12-13T12:30:17.206" v="246" actId="13926"/>
        <pc:sldMkLst>
          <pc:docMk/>
          <pc:sldMk cId="912891240" sldId="280"/>
        </pc:sldMkLst>
        <pc:spChg chg="mod">
          <ac:chgData name="Andre Batenburg" userId="c6030a91-3587-4b0c-9a04-30c274d4b5d3" providerId="ADAL" clId="{DD6FAF99-9C14-4DFA-84E0-B32D1B4C3C4C}" dt="2021-12-13T12:30:17.206" v="246" actId="13926"/>
          <ac:spMkLst>
            <pc:docMk/>
            <pc:sldMk cId="912891240" sldId="280"/>
            <ac:spMk id="3" creationId="{1EE97491-D281-459D-8388-B4E0EC3AAE6C}"/>
          </ac:spMkLst>
        </pc:spChg>
      </pc:sldChg>
      <pc:sldChg chg="del">
        <pc:chgData name="Andre Batenburg" userId="c6030a91-3587-4b0c-9a04-30c274d4b5d3" providerId="ADAL" clId="{DD6FAF99-9C14-4DFA-84E0-B32D1B4C3C4C}" dt="2021-12-13T12:31:28.386" v="255" actId="47"/>
        <pc:sldMkLst>
          <pc:docMk/>
          <pc:sldMk cId="4145162108" sldId="281"/>
        </pc:sldMkLst>
      </pc:sldChg>
      <pc:sldChg chg="addSp delSp modSp mod">
        <pc:chgData name="Andre Batenburg" userId="c6030a91-3587-4b0c-9a04-30c274d4b5d3" providerId="ADAL" clId="{DD6FAF99-9C14-4DFA-84E0-B32D1B4C3C4C}" dt="2021-12-13T13:50:25.194" v="782" actId="13926"/>
        <pc:sldMkLst>
          <pc:docMk/>
          <pc:sldMk cId="2812970303" sldId="286"/>
        </pc:sldMkLst>
        <pc:spChg chg="mod">
          <ac:chgData name="Andre Batenburg" userId="c6030a91-3587-4b0c-9a04-30c274d4b5d3" providerId="ADAL" clId="{DD6FAF99-9C14-4DFA-84E0-B32D1B4C3C4C}" dt="2021-12-13T13:50:25.194" v="782" actId="13926"/>
          <ac:spMkLst>
            <pc:docMk/>
            <pc:sldMk cId="2812970303" sldId="286"/>
            <ac:spMk id="2" creationId="{F0AAD7FE-5E38-4909-B2A9-AACFE7437F07}"/>
          </ac:spMkLst>
        </pc:spChg>
        <pc:picChg chg="del">
          <ac:chgData name="Andre Batenburg" userId="c6030a91-3587-4b0c-9a04-30c274d4b5d3" providerId="ADAL" clId="{DD6FAF99-9C14-4DFA-84E0-B32D1B4C3C4C}" dt="2021-12-13T13:42:00.658" v="746" actId="478"/>
          <ac:picMkLst>
            <pc:docMk/>
            <pc:sldMk cId="2812970303" sldId="286"/>
            <ac:picMk id="6" creationId="{2025A9A5-C442-40CA-96D4-D99E7C3445A5}"/>
          </ac:picMkLst>
        </pc:picChg>
        <pc:picChg chg="add mod">
          <ac:chgData name="Andre Batenburg" userId="c6030a91-3587-4b0c-9a04-30c274d4b5d3" providerId="ADAL" clId="{DD6FAF99-9C14-4DFA-84E0-B32D1B4C3C4C}" dt="2021-12-13T13:42:26.820" v="749" actId="1076"/>
          <ac:picMkLst>
            <pc:docMk/>
            <pc:sldMk cId="2812970303" sldId="286"/>
            <ac:picMk id="7" creationId="{95FE5410-F673-4470-8C11-E36B1A58DB39}"/>
          </ac:picMkLst>
        </pc:picChg>
      </pc:sldChg>
      <pc:sldChg chg="addSp delSp modSp mod">
        <pc:chgData name="Andre Batenburg" userId="c6030a91-3587-4b0c-9a04-30c274d4b5d3" providerId="ADAL" clId="{DD6FAF99-9C14-4DFA-84E0-B32D1B4C3C4C}" dt="2021-12-13T13:49:43.732" v="781" actId="13926"/>
        <pc:sldMkLst>
          <pc:docMk/>
          <pc:sldMk cId="649030648" sldId="287"/>
        </pc:sldMkLst>
        <pc:spChg chg="mod">
          <ac:chgData name="Andre Batenburg" userId="c6030a91-3587-4b0c-9a04-30c274d4b5d3" providerId="ADAL" clId="{DD6FAF99-9C14-4DFA-84E0-B32D1B4C3C4C}" dt="2021-12-13T13:49:43.732" v="781" actId="13926"/>
          <ac:spMkLst>
            <pc:docMk/>
            <pc:sldMk cId="649030648" sldId="287"/>
            <ac:spMk id="2" creationId="{F0AAD7FE-5E38-4909-B2A9-AACFE7437F07}"/>
          </ac:spMkLst>
        </pc:spChg>
        <pc:picChg chg="del">
          <ac:chgData name="Andre Batenburg" userId="c6030a91-3587-4b0c-9a04-30c274d4b5d3" providerId="ADAL" clId="{DD6FAF99-9C14-4DFA-84E0-B32D1B4C3C4C}" dt="2021-12-13T13:42:45.894" v="750" actId="478"/>
          <ac:picMkLst>
            <pc:docMk/>
            <pc:sldMk cId="649030648" sldId="287"/>
            <ac:picMk id="6" creationId="{ECD6D5F3-2328-471C-9E1F-56BE6A221F23}"/>
          </ac:picMkLst>
        </pc:picChg>
        <pc:picChg chg="add mod">
          <ac:chgData name="Andre Batenburg" userId="c6030a91-3587-4b0c-9a04-30c274d4b5d3" providerId="ADAL" clId="{DD6FAF99-9C14-4DFA-84E0-B32D1B4C3C4C}" dt="2021-12-13T13:44:16.091" v="755" actId="14100"/>
          <ac:picMkLst>
            <pc:docMk/>
            <pc:sldMk cId="649030648" sldId="287"/>
            <ac:picMk id="7" creationId="{696352F5-F711-4D8F-8D4D-2DC47B45669E}"/>
          </ac:picMkLst>
        </pc:picChg>
      </pc:sldChg>
      <pc:sldChg chg="addSp delSp modSp mod">
        <pc:chgData name="Andre Batenburg" userId="c6030a91-3587-4b0c-9a04-30c274d4b5d3" providerId="ADAL" clId="{DD6FAF99-9C14-4DFA-84E0-B32D1B4C3C4C}" dt="2021-12-13T13:45:21.492" v="762" actId="167"/>
        <pc:sldMkLst>
          <pc:docMk/>
          <pc:sldMk cId="142520883" sldId="288"/>
        </pc:sldMkLst>
        <pc:spChg chg="add mod">
          <ac:chgData name="Andre Batenburg" userId="c6030a91-3587-4b0c-9a04-30c274d4b5d3" providerId="ADAL" clId="{DD6FAF99-9C14-4DFA-84E0-B32D1B4C3C4C}" dt="2021-12-13T12:42:21.032" v="541"/>
          <ac:spMkLst>
            <pc:docMk/>
            <pc:sldMk cId="142520883" sldId="288"/>
            <ac:spMk id="6" creationId="{CF644BF0-5ABC-4B28-9F2C-1757B0ECE1C4}"/>
          </ac:spMkLst>
        </pc:spChg>
        <pc:picChg chg="del mod">
          <ac:chgData name="Andre Batenburg" userId="c6030a91-3587-4b0c-9a04-30c274d4b5d3" providerId="ADAL" clId="{DD6FAF99-9C14-4DFA-84E0-B32D1B4C3C4C}" dt="2021-12-13T13:44:56.941" v="757" actId="478"/>
          <ac:picMkLst>
            <pc:docMk/>
            <pc:sldMk cId="142520883" sldId="288"/>
            <ac:picMk id="7" creationId="{645CDB72-D279-47A8-B812-BA7A00F15998}"/>
          </ac:picMkLst>
        </pc:picChg>
        <pc:picChg chg="add mod ord">
          <ac:chgData name="Andre Batenburg" userId="c6030a91-3587-4b0c-9a04-30c274d4b5d3" providerId="ADAL" clId="{DD6FAF99-9C14-4DFA-84E0-B32D1B4C3C4C}" dt="2021-12-13T13:45:21.492" v="762" actId="167"/>
          <ac:picMkLst>
            <pc:docMk/>
            <pc:sldMk cId="142520883" sldId="288"/>
            <ac:picMk id="8" creationId="{8C6D1C95-FF57-4137-9600-41AE27EC5D44}"/>
          </ac:picMkLst>
        </pc:picChg>
      </pc:sldChg>
      <pc:sldChg chg="del">
        <pc:chgData name="Andre Batenburg" userId="c6030a91-3587-4b0c-9a04-30c274d4b5d3" providerId="ADAL" clId="{DD6FAF99-9C14-4DFA-84E0-B32D1B4C3C4C}" dt="2021-12-13T13:46:24.377" v="764" actId="47"/>
        <pc:sldMkLst>
          <pc:docMk/>
          <pc:sldMk cId="1910007894" sldId="289"/>
        </pc:sldMkLst>
      </pc:sldChg>
      <pc:sldChg chg="del">
        <pc:chgData name="Andre Batenburg" userId="c6030a91-3587-4b0c-9a04-30c274d4b5d3" providerId="ADAL" clId="{DD6FAF99-9C14-4DFA-84E0-B32D1B4C3C4C}" dt="2021-12-13T13:46:24.377" v="764" actId="47"/>
        <pc:sldMkLst>
          <pc:docMk/>
          <pc:sldMk cId="3498502278" sldId="290"/>
        </pc:sldMkLst>
      </pc:sldChg>
      <pc:sldChg chg="del">
        <pc:chgData name="Andre Batenburg" userId="c6030a91-3587-4b0c-9a04-30c274d4b5d3" providerId="ADAL" clId="{DD6FAF99-9C14-4DFA-84E0-B32D1B4C3C4C}" dt="2021-12-13T13:46:24.377" v="764" actId="47"/>
        <pc:sldMkLst>
          <pc:docMk/>
          <pc:sldMk cId="358537123" sldId="291"/>
        </pc:sldMkLst>
      </pc:sldChg>
      <pc:sldChg chg="modSp add mod">
        <pc:chgData name="Andre Batenburg" userId="c6030a91-3587-4b0c-9a04-30c274d4b5d3" providerId="ADAL" clId="{DD6FAF99-9C14-4DFA-84E0-B32D1B4C3C4C}" dt="2021-12-13T12:20:24.232" v="110" actId="6549"/>
        <pc:sldMkLst>
          <pc:docMk/>
          <pc:sldMk cId="3059244874" sldId="292"/>
        </pc:sldMkLst>
        <pc:spChg chg="mod">
          <ac:chgData name="Andre Batenburg" userId="c6030a91-3587-4b0c-9a04-30c274d4b5d3" providerId="ADAL" clId="{DD6FAF99-9C14-4DFA-84E0-B32D1B4C3C4C}" dt="2021-12-13T12:14:33.368" v="68" actId="6549"/>
          <ac:spMkLst>
            <pc:docMk/>
            <pc:sldMk cId="3059244874" sldId="292"/>
            <ac:spMk id="2" creationId="{DF28D848-D110-496F-AD28-2AE95E553C95}"/>
          </ac:spMkLst>
        </pc:spChg>
        <pc:spChg chg="mod">
          <ac:chgData name="Andre Batenburg" userId="c6030a91-3587-4b0c-9a04-30c274d4b5d3" providerId="ADAL" clId="{DD6FAF99-9C14-4DFA-84E0-B32D1B4C3C4C}" dt="2021-12-13T12:20:24.232" v="110" actId="6549"/>
          <ac:spMkLst>
            <pc:docMk/>
            <pc:sldMk cId="3059244874" sldId="292"/>
            <ac:spMk id="3" creationId="{703326AC-DD39-415A-823D-1FD6D8613B4D}"/>
          </ac:spMkLst>
        </pc:spChg>
      </pc:sldChg>
      <pc:sldChg chg="addSp delSp modSp add mod">
        <pc:chgData name="Andre Batenburg" userId="c6030a91-3587-4b0c-9a04-30c274d4b5d3" providerId="ADAL" clId="{DD6FAF99-9C14-4DFA-84E0-B32D1B4C3C4C}" dt="2021-12-13T13:14:31.885" v="686" actId="1076"/>
        <pc:sldMkLst>
          <pc:docMk/>
          <pc:sldMk cId="1277412391" sldId="293"/>
        </pc:sldMkLst>
        <pc:spChg chg="mod">
          <ac:chgData name="Andre Batenburg" userId="c6030a91-3587-4b0c-9a04-30c274d4b5d3" providerId="ADAL" clId="{DD6FAF99-9C14-4DFA-84E0-B32D1B4C3C4C}" dt="2021-12-13T12:21:53.167" v="114" actId="6549"/>
          <ac:spMkLst>
            <pc:docMk/>
            <pc:sldMk cId="1277412391" sldId="293"/>
            <ac:spMk id="2" creationId="{1BF4EC6A-9F31-4A96-9827-48617C19E8A7}"/>
          </ac:spMkLst>
        </pc:spChg>
        <pc:picChg chg="add mod">
          <ac:chgData name="Andre Batenburg" userId="c6030a91-3587-4b0c-9a04-30c274d4b5d3" providerId="ADAL" clId="{DD6FAF99-9C14-4DFA-84E0-B32D1B4C3C4C}" dt="2021-12-13T13:14:31.885" v="686" actId="1076"/>
          <ac:picMkLst>
            <pc:docMk/>
            <pc:sldMk cId="1277412391" sldId="293"/>
            <ac:picMk id="6" creationId="{3A22EE3C-547C-4CFE-AD03-1D3D6ABC0A58}"/>
          </ac:picMkLst>
        </pc:picChg>
        <pc:picChg chg="del">
          <ac:chgData name="Andre Batenburg" userId="c6030a91-3587-4b0c-9a04-30c274d4b5d3" providerId="ADAL" clId="{DD6FAF99-9C14-4DFA-84E0-B32D1B4C3C4C}" dt="2021-12-13T13:13:48.350" v="681" actId="478"/>
          <ac:picMkLst>
            <pc:docMk/>
            <pc:sldMk cId="1277412391" sldId="293"/>
            <ac:picMk id="7" creationId="{70518063-5456-441F-AE8A-0D74214C166D}"/>
          </ac:picMkLst>
        </pc:picChg>
      </pc:sldChg>
      <pc:sldChg chg="modSp add mod">
        <pc:chgData name="Andre Batenburg" userId="c6030a91-3587-4b0c-9a04-30c274d4b5d3" providerId="ADAL" clId="{DD6FAF99-9C14-4DFA-84E0-B32D1B4C3C4C}" dt="2021-12-13T13:25:58.936" v="738" actId="6549"/>
        <pc:sldMkLst>
          <pc:docMk/>
          <pc:sldMk cId="1980481955" sldId="294"/>
        </pc:sldMkLst>
        <pc:spChg chg="mod">
          <ac:chgData name="Andre Batenburg" userId="c6030a91-3587-4b0c-9a04-30c274d4b5d3" providerId="ADAL" clId="{DD6FAF99-9C14-4DFA-84E0-B32D1B4C3C4C}" dt="2021-12-13T12:33:29.338" v="263" actId="6549"/>
          <ac:spMkLst>
            <pc:docMk/>
            <pc:sldMk cId="1980481955" sldId="294"/>
            <ac:spMk id="2" creationId="{8365D70B-BE1E-4E74-95C1-6B212A60C32F}"/>
          </ac:spMkLst>
        </pc:spChg>
        <pc:spChg chg="mod">
          <ac:chgData name="Andre Batenburg" userId="c6030a91-3587-4b0c-9a04-30c274d4b5d3" providerId="ADAL" clId="{DD6FAF99-9C14-4DFA-84E0-B32D1B4C3C4C}" dt="2021-12-13T13:25:58.936" v="738" actId="6549"/>
          <ac:spMkLst>
            <pc:docMk/>
            <pc:sldMk cId="1980481955" sldId="294"/>
            <ac:spMk id="3" creationId="{431A05E7-2535-4193-AD75-234F5E2B6AEA}"/>
          </ac:spMkLst>
        </pc:spChg>
      </pc:sldChg>
      <pc:sldChg chg="modSp add mod">
        <pc:chgData name="Andre Batenburg" userId="c6030a91-3587-4b0c-9a04-30c274d4b5d3" providerId="ADAL" clId="{DD6FAF99-9C14-4DFA-84E0-B32D1B4C3C4C}" dt="2021-12-13T12:24:45.400" v="185" actId="20577"/>
        <pc:sldMkLst>
          <pc:docMk/>
          <pc:sldMk cId="1149580846" sldId="295"/>
        </pc:sldMkLst>
        <pc:spChg chg="mod">
          <ac:chgData name="Andre Batenburg" userId="c6030a91-3587-4b0c-9a04-30c274d4b5d3" providerId="ADAL" clId="{DD6FAF99-9C14-4DFA-84E0-B32D1B4C3C4C}" dt="2021-12-13T12:23:23.777" v="139" actId="6549"/>
          <ac:spMkLst>
            <pc:docMk/>
            <pc:sldMk cId="1149580846" sldId="295"/>
            <ac:spMk id="2" creationId="{381AC8FB-7CF5-47FA-83DD-FFD6C60370B2}"/>
          </ac:spMkLst>
        </pc:spChg>
        <pc:spChg chg="mod">
          <ac:chgData name="Andre Batenburg" userId="c6030a91-3587-4b0c-9a04-30c274d4b5d3" providerId="ADAL" clId="{DD6FAF99-9C14-4DFA-84E0-B32D1B4C3C4C}" dt="2021-12-13T12:24:45.400" v="185" actId="20577"/>
          <ac:spMkLst>
            <pc:docMk/>
            <pc:sldMk cId="1149580846" sldId="295"/>
            <ac:spMk id="3" creationId="{0AF16333-C786-42E4-9390-944549E86B1E}"/>
          </ac:spMkLst>
        </pc:spChg>
      </pc:sldChg>
      <pc:sldChg chg="modSp add mod">
        <pc:chgData name="Andre Batenburg" userId="c6030a91-3587-4b0c-9a04-30c274d4b5d3" providerId="ADAL" clId="{DD6FAF99-9C14-4DFA-84E0-B32D1B4C3C4C}" dt="2021-12-13T12:26:02.735" v="216" actId="20577"/>
        <pc:sldMkLst>
          <pc:docMk/>
          <pc:sldMk cId="3813723346" sldId="296"/>
        </pc:sldMkLst>
        <pc:spChg chg="mod">
          <ac:chgData name="Andre Batenburg" userId="c6030a91-3587-4b0c-9a04-30c274d4b5d3" providerId="ADAL" clId="{DD6FAF99-9C14-4DFA-84E0-B32D1B4C3C4C}" dt="2021-12-13T12:25:07.028" v="211" actId="20577"/>
          <ac:spMkLst>
            <pc:docMk/>
            <pc:sldMk cId="3813723346" sldId="296"/>
            <ac:spMk id="2" creationId="{381AC8FB-7CF5-47FA-83DD-FFD6C60370B2}"/>
          </ac:spMkLst>
        </pc:spChg>
        <pc:spChg chg="mod">
          <ac:chgData name="Andre Batenburg" userId="c6030a91-3587-4b0c-9a04-30c274d4b5d3" providerId="ADAL" clId="{DD6FAF99-9C14-4DFA-84E0-B32D1B4C3C4C}" dt="2021-12-13T12:26:02.735" v="216" actId="20577"/>
          <ac:spMkLst>
            <pc:docMk/>
            <pc:sldMk cId="3813723346" sldId="296"/>
            <ac:spMk id="3" creationId="{0AF16333-C786-42E4-9390-944549E86B1E}"/>
          </ac:spMkLst>
        </pc:spChg>
      </pc:sldChg>
      <pc:sldChg chg="modSp add mod">
        <pc:chgData name="Andre Batenburg" userId="c6030a91-3587-4b0c-9a04-30c274d4b5d3" providerId="ADAL" clId="{DD6FAF99-9C14-4DFA-84E0-B32D1B4C3C4C}" dt="2021-12-13T12:29:05.266" v="230" actId="114"/>
        <pc:sldMkLst>
          <pc:docMk/>
          <pc:sldMk cId="835859289" sldId="297"/>
        </pc:sldMkLst>
        <pc:spChg chg="mod">
          <ac:chgData name="Andre Batenburg" userId="c6030a91-3587-4b0c-9a04-30c274d4b5d3" providerId="ADAL" clId="{DD6FAF99-9C14-4DFA-84E0-B32D1B4C3C4C}" dt="2021-12-13T12:27:44.433" v="218" actId="6549"/>
          <ac:spMkLst>
            <pc:docMk/>
            <pc:sldMk cId="835859289" sldId="297"/>
            <ac:spMk id="2" creationId="{381AC8FB-7CF5-47FA-83DD-FFD6C60370B2}"/>
          </ac:spMkLst>
        </pc:spChg>
        <pc:spChg chg="mod">
          <ac:chgData name="Andre Batenburg" userId="c6030a91-3587-4b0c-9a04-30c274d4b5d3" providerId="ADAL" clId="{DD6FAF99-9C14-4DFA-84E0-B32D1B4C3C4C}" dt="2021-12-13T12:29:05.266" v="230" actId="114"/>
          <ac:spMkLst>
            <pc:docMk/>
            <pc:sldMk cId="835859289" sldId="297"/>
            <ac:spMk id="3" creationId="{0AF16333-C786-42E4-9390-944549E86B1E}"/>
          </ac:spMkLst>
        </pc:spChg>
      </pc:sldChg>
      <pc:sldChg chg="addSp delSp modSp add mod">
        <pc:chgData name="Andre Batenburg" userId="c6030a91-3587-4b0c-9a04-30c274d4b5d3" providerId="ADAL" clId="{DD6FAF99-9C14-4DFA-84E0-B32D1B4C3C4C}" dt="2021-12-13T13:17:12.291" v="692" actId="1076"/>
        <pc:sldMkLst>
          <pc:docMk/>
          <pc:sldMk cId="1831370283" sldId="298"/>
        </pc:sldMkLst>
        <pc:spChg chg="mod">
          <ac:chgData name="Andre Batenburg" userId="c6030a91-3587-4b0c-9a04-30c274d4b5d3" providerId="ADAL" clId="{DD6FAF99-9C14-4DFA-84E0-B32D1B4C3C4C}" dt="2021-12-13T12:31:20.281" v="254" actId="6549"/>
          <ac:spMkLst>
            <pc:docMk/>
            <pc:sldMk cId="1831370283" sldId="298"/>
            <ac:spMk id="2" creationId="{1BF4EC6A-9F31-4A96-9827-48617C19E8A7}"/>
          </ac:spMkLst>
        </pc:spChg>
        <pc:picChg chg="del">
          <ac:chgData name="Andre Batenburg" userId="c6030a91-3587-4b0c-9a04-30c274d4b5d3" providerId="ADAL" clId="{DD6FAF99-9C14-4DFA-84E0-B32D1B4C3C4C}" dt="2021-12-13T13:16:27.261" v="687" actId="478"/>
          <ac:picMkLst>
            <pc:docMk/>
            <pc:sldMk cId="1831370283" sldId="298"/>
            <ac:picMk id="6" creationId="{B05D5EEE-39AD-4E01-935F-E37EA1A3BDC3}"/>
          </ac:picMkLst>
        </pc:picChg>
        <pc:picChg chg="add mod">
          <ac:chgData name="Andre Batenburg" userId="c6030a91-3587-4b0c-9a04-30c274d4b5d3" providerId="ADAL" clId="{DD6FAF99-9C14-4DFA-84E0-B32D1B4C3C4C}" dt="2021-12-13T13:17:12.291" v="692" actId="1076"/>
          <ac:picMkLst>
            <pc:docMk/>
            <pc:sldMk cId="1831370283" sldId="298"/>
            <ac:picMk id="7" creationId="{750B6E49-6CF5-47B0-B0A5-9881D46E7038}"/>
          </ac:picMkLst>
        </pc:picChg>
      </pc:sldChg>
      <pc:sldChg chg="addSp delSp modSp add mod">
        <pc:chgData name="Andre Batenburg" userId="c6030a91-3587-4b0c-9a04-30c274d4b5d3" providerId="ADAL" clId="{DD6FAF99-9C14-4DFA-84E0-B32D1B4C3C4C}" dt="2021-12-13T13:21:13.771" v="696" actId="1076"/>
        <pc:sldMkLst>
          <pc:docMk/>
          <pc:sldMk cId="2195329819" sldId="299"/>
        </pc:sldMkLst>
        <pc:spChg chg="mod">
          <ac:chgData name="Andre Batenburg" userId="c6030a91-3587-4b0c-9a04-30c274d4b5d3" providerId="ADAL" clId="{DD6FAF99-9C14-4DFA-84E0-B32D1B4C3C4C}" dt="2021-12-13T12:38:55.813" v="491" actId="6549"/>
          <ac:spMkLst>
            <pc:docMk/>
            <pc:sldMk cId="2195329819" sldId="299"/>
            <ac:spMk id="4" creationId="{2D34E113-9A2A-4671-8CC4-870790B642BD}"/>
          </ac:spMkLst>
        </pc:spChg>
        <pc:picChg chg="add mod">
          <ac:chgData name="Andre Batenburg" userId="c6030a91-3587-4b0c-9a04-30c274d4b5d3" providerId="ADAL" clId="{DD6FAF99-9C14-4DFA-84E0-B32D1B4C3C4C}" dt="2021-12-13T13:21:13.771" v="696" actId="1076"/>
          <ac:picMkLst>
            <pc:docMk/>
            <pc:sldMk cId="2195329819" sldId="299"/>
            <ac:picMk id="6" creationId="{41817C67-F063-4B33-8549-D1B5DAFAEBB7}"/>
          </ac:picMkLst>
        </pc:picChg>
        <pc:picChg chg="del">
          <ac:chgData name="Andre Batenburg" userId="c6030a91-3587-4b0c-9a04-30c274d4b5d3" providerId="ADAL" clId="{DD6FAF99-9C14-4DFA-84E0-B32D1B4C3C4C}" dt="2021-12-13T13:20:39.408" v="693" actId="478"/>
          <ac:picMkLst>
            <pc:docMk/>
            <pc:sldMk cId="2195329819" sldId="299"/>
            <ac:picMk id="7" creationId="{B75D6EDA-2150-45C6-8C21-5B86E8AC6AA5}"/>
          </ac:picMkLst>
        </pc:picChg>
      </pc:sldChg>
      <pc:sldChg chg="modSp add mod">
        <pc:chgData name="Andre Batenburg" userId="c6030a91-3587-4b0c-9a04-30c274d4b5d3" providerId="ADAL" clId="{DD6FAF99-9C14-4DFA-84E0-B32D1B4C3C4C}" dt="2021-12-13T12:41:08.311" v="538" actId="6549"/>
        <pc:sldMkLst>
          <pc:docMk/>
          <pc:sldMk cId="2618906977" sldId="300"/>
        </pc:sldMkLst>
        <pc:spChg chg="mod">
          <ac:chgData name="Andre Batenburg" userId="c6030a91-3587-4b0c-9a04-30c274d4b5d3" providerId="ADAL" clId="{DD6FAF99-9C14-4DFA-84E0-B32D1B4C3C4C}" dt="2021-12-13T12:39:59.218" v="528" actId="6549"/>
          <ac:spMkLst>
            <pc:docMk/>
            <pc:sldMk cId="2618906977" sldId="300"/>
            <ac:spMk id="4" creationId="{2D34E113-9A2A-4671-8CC4-870790B642BD}"/>
          </ac:spMkLst>
        </pc:spChg>
        <pc:spChg chg="mod">
          <ac:chgData name="Andre Batenburg" userId="c6030a91-3587-4b0c-9a04-30c274d4b5d3" providerId="ADAL" clId="{DD6FAF99-9C14-4DFA-84E0-B32D1B4C3C4C}" dt="2021-12-13T12:41:08.311" v="538" actId="6549"/>
          <ac:spMkLst>
            <pc:docMk/>
            <pc:sldMk cId="2618906977" sldId="300"/>
            <ac:spMk id="5" creationId="{B49515C9-2FFE-4347-A9A2-667222243B45}"/>
          </ac:spMkLst>
        </pc:spChg>
      </pc:sldChg>
      <pc:sldChg chg="addSp delSp modSp add mod">
        <pc:chgData name="Andre Batenburg" userId="c6030a91-3587-4b0c-9a04-30c274d4b5d3" providerId="ADAL" clId="{DD6FAF99-9C14-4DFA-84E0-B32D1B4C3C4C}" dt="2021-12-13T13:31:07.595" v="741" actId="1076"/>
        <pc:sldMkLst>
          <pc:docMk/>
          <pc:sldMk cId="2376113798" sldId="301"/>
        </pc:sldMkLst>
        <pc:spChg chg="mod">
          <ac:chgData name="Andre Batenburg" userId="c6030a91-3587-4b0c-9a04-30c274d4b5d3" providerId="ADAL" clId="{DD6FAF99-9C14-4DFA-84E0-B32D1B4C3C4C}" dt="2021-12-13T12:50:47.225" v="559" actId="6549"/>
          <ac:spMkLst>
            <pc:docMk/>
            <pc:sldMk cId="2376113798" sldId="301"/>
            <ac:spMk id="2" creationId="{0D056B63-9CD9-42E5-AB19-162E67F6CE04}"/>
          </ac:spMkLst>
        </pc:spChg>
        <pc:spChg chg="mod">
          <ac:chgData name="Andre Batenburg" userId="c6030a91-3587-4b0c-9a04-30c274d4b5d3" providerId="ADAL" clId="{DD6FAF99-9C14-4DFA-84E0-B32D1B4C3C4C}" dt="2021-12-13T12:55:36.963" v="680" actId="6549"/>
          <ac:spMkLst>
            <pc:docMk/>
            <pc:sldMk cId="2376113798" sldId="301"/>
            <ac:spMk id="3" creationId="{2F444D9E-FF65-4DCB-B619-62C87039C077}"/>
          </ac:spMkLst>
        </pc:spChg>
        <pc:picChg chg="del">
          <ac:chgData name="Andre Batenburg" userId="c6030a91-3587-4b0c-9a04-30c274d4b5d3" providerId="ADAL" clId="{DD6FAF99-9C14-4DFA-84E0-B32D1B4C3C4C}" dt="2021-12-13T13:30:57.006" v="739" actId="478"/>
          <ac:picMkLst>
            <pc:docMk/>
            <pc:sldMk cId="2376113798" sldId="301"/>
            <ac:picMk id="7" creationId="{CF72E468-9046-4A34-970A-3031B53D3817}"/>
          </ac:picMkLst>
        </pc:picChg>
        <pc:picChg chg="add mod">
          <ac:chgData name="Andre Batenburg" userId="c6030a91-3587-4b0c-9a04-30c274d4b5d3" providerId="ADAL" clId="{DD6FAF99-9C14-4DFA-84E0-B32D1B4C3C4C}" dt="2021-12-13T13:31:07.595" v="741" actId="1076"/>
          <ac:picMkLst>
            <pc:docMk/>
            <pc:sldMk cId="2376113798" sldId="301"/>
            <ac:picMk id="8" creationId="{A5934D89-C7E9-40D7-8F81-4F4896B28076}"/>
          </ac:picMkLst>
        </pc:picChg>
      </pc:sldChg>
      <pc:sldChg chg="add">
        <pc:chgData name="Andre Batenburg" userId="c6030a91-3587-4b0c-9a04-30c274d4b5d3" providerId="ADAL" clId="{DD6FAF99-9C14-4DFA-84E0-B32D1B4C3C4C}" dt="2021-12-13T13:46:17.711" v="763"/>
        <pc:sldMkLst>
          <pc:docMk/>
          <pc:sldMk cId="2309313669" sldId="302"/>
        </pc:sldMkLst>
      </pc:sldChg>
      <pc:sldChg chg="add">
        <pc:chgData name="Andre Batenburg" userId="c6030a91-3587-4b0c-9a04-30c274d4b5d3" providerId="ADAL" clId="{DD6FAF99-9C14-4DFA-84E0-B32D1B4C3C4C}" dt="2021-12-13T13:46:17.711" v="763"/>
        <pc:sldMkLst>
          <pc:docMk/>
          <pc:sldMk cId="1791770329" sldId="303"/>
        </pc:sldMkLst>
      </pc:sldChg>
      <pc:sldChg chg="add">
        <pc:chgData name="Andre Batenburg" userId="c6030a91-3587-4b0c-9a04-30c274d4b5d3" providerId="ADAL" clId="{DD6FAF99-9C14-4DFA-84E0-B32D1B4C3C4C}" dt="2021-12-13T13:46:17.711" v="763"/>
        <pc:sldMkLst>
          <pc:docMk/>
          <pc:sldMk cId="1882584054" sldId="304"/>
        </pc:sldMkLst>
      </pc:sldChg>
    </pc:docChg>
  </pc:docChgLst>
  <pc:docChgLst>
    <pc:chgData name="Andre Batenburg" userId="c6030a91-3587-4b0c-9a04-30c274d4b5d3" providerId="ADAL" clId="{949B001E-0EFA-4C6F-B9A9-A1A3E57DDA52}"/>
    <pc:docChg chg="undo custSel addSld modSld">
      <pc:chgData name="Andre Batenburg" userId="c6030a91-3587-4b0c-9a04-30c274d4b5d3" providerId="ADAL" clId="{949B001E-0EFA-4C6F-B9A9-A1A3E57DDA52}" dt="2022-11-04T14:54:01.536" v="281" actId="20577"/>
      <pc:docMkLst>
        <pc:docMk/>
      </pc:docMkLst>
      <pc:sldChg chg="modSp mod">
        <pc:chgData name="Andre Batenburg" userId="c6030a91-3587-4b0c-9a04-30c274d4b5d3" providerId="ADAL" clId="{949B001E-0EFA-4C6F-B9A9-A1A3E57DDA52}" dt="2022-11-04T14:53:57.051" v="279" actId="6549"/>
        <pc:sldMkLst>
          <pc:docMk/>
          <pc:sldMk cId="3434545749" sldId="257"/>
        </pc:sldMkLst>
        <pc:spChg chg="mod">
          <ac:chgData name="Andre Batenburg" userId="c6030a91-3587-4b0c-9a04-30c274d4b5d3" providerId="ADAL" clId="{949B001E-0EFA-4C6F-B9A9-A1A3E57DDA52}" dt="2022-11-04T14:53:57.051" v="279" actId="6549"/>
          <ac:spMkLst>
            <pc:docMk/>
            <pc:sldMk cId="3434545749" sldId="257"/>
            <ac:spMk id="5" creationId="{00000000-0000-0000-0000-000000000000}"/>
          </ac:spMkLst>
        </pc:spChg>
      </pc:sldChg>
      <pc:sldChg chg="modSp mod">
        <pc:chgData name="Andre Batenburg" userId="c6030a91-3587-4b0c-9a04-30c274d4b5d3" providerId="ADAL" clId="{949B001E-0EFA-4C6F-B9A9-A1A3E57DDA52}" dt="2022-11-04T14:54:01.536" v="281" actId="20577"/>
        <pc:sldMkLst>
          <pc:docMk/>
          <pc:sldMk cId="3850271385" sldId="271"/>
        </pc:sldMkLst>
        <pc:spChg chg="mod">
          <ac:chgData name="Andre Batenburg" userId="c6030a91-3587-4b0c-9a04-30c274d4b5d3" providerId="ADAL" clId="{949B001E-0EFA-4C6F-B9A9-A1A3E57DDA52}" dt="2022-11-01T11:24:33.843" v="14" actId="13926"/>
          <ac:spMkLst>
            <pc:docMk/>
            <pc:sldMk cId="3850271385" sldId="271"/>
            <ac:spMk id="2" creationId="{D7969EDB-EE8E-4BD6-B931-457A7A3E04AC}"/>
          </ac:spMkLst>
        </pc:spChg>
        <pc:spChg chg="mod">
          <ac:chgData name="Andre Batenburg" userId="c6030a91-3587-4b0c-9a04-30c274d4b5d3" providerId="ADAL" clId="{949B001E-0EFA-4C6F-B9A9-A1A3E57DDA52}" dt="2022-11-04T14:54:01.536" v="281" actId="20577"/>
          <ac:spMkLst>
            <pc:docMk/>
            <pc:sldMk cId="3850271385" sldId="271"/>
            <ac:spMk id="4" creationId="{4A7D0E74-ED2F-40F1-AC19-B7534DC6379E}"/>
          </ac:spMkLst>
        </pc:spChg>
        <pc:spChg chg="mod">
          <ac:chgData name="Andre Batenburg" userId="c6030a91-3587-4b0c-9a04-30c274d4b5d3" providerId="ADAL" clId="{949B001E-0EFA-4C6F-B9A9-A1A3E57DDA52}" dt="2022-11-01T11:24:33.843" v="14" actId="13926"/>
          <ac:spMkLst>
            <pc:docMk/>
            <pc:sldMk cId="3850271385" sldId="271"/>
            <ac:spMk id="5" creationId="{C395AE4E-A7D8-464A-9B23-4747629AD39C}"/>
          </ac:spMkLst>
        </pc:spChg>
        <pc:spChg chg="mod">
          <ac:chgData name="Andre Batenburg" userId="c6030a91-3587-4b0c-9a04-30c274d4b5d3" providerId="ADAL" clId="{949B001E-0EFA-4C6F-B9A9-A1A3E57DDA52}" dt="2022-11-01T11:24:33.843" v="14" actId="13926"/>
          <ac:spMkLst>
            <pc:docMk/>
            <pc:sldMk cId="3850271385" sldId="271"/>
            <ac:spMk id="6" creationId="{9BDFB2CB-794E-46D0-8883-C663335CBA56}"/>
          </ac:spMkLst>
        </pc:spChg>
        <pc:spChg chg="mod">
          <ac:chgData name="Andre Batenburg" userId="c6030a91-3587-4b0c-9a04-30c274d4b5d3" providerId="ADAL" clId="{949B001E-0EFA-4C6F-B9A9-A1A3E57DDA52}" dt="2022-11-01T11:24:33.843" v="14" actId="13926"/>
          <ac:spMkLst>
            <pc:docMk/>
            <pc:sldMk cId="3850271385" sldId="271"/>
            <ac:spMk id="7" creationId="{E5A881DB-A52E-4701-B477-618B83370F91}"/>
          </ac:spMkLst>
        </pc:spChg>
      </pc:sldChg>
      <pc:sldChg chg="modSp mod">
        <pc:chgData name="Andre Batenburg" userId="c6030a91-3587-4b0c-9a04-30c274d4b5d3" providerId="ADAL" clId="{949B001E-0EFA-4C6F-B9A9-A1A3E57DDA52}" dt="2022-11-03T06:23:01.753" v="160" actId="115"/>
        <pc:sldMkLst>
          <pc:docMk/>
          <pc:sldMk cId="633113847" sldId="272"/>
        </pc:sldMkLst>
        <pc:spChg chg="mod">
          <ac:chgData name="Andre Batenburg" userId="c6030a91-3587-4b0c-9a04-30c274d4b5d3" providerId="ADAL" clId="{949B001E-0EFA-4C6F-B9A9-A1A3E57DDA52}" dt="2022-11-03T06:23:01.753" v="160" actId="115"/>
          <ac:spMkLst>
            <pc:docMk/>
            <pc:sldMk cId="633113847" sldId="272"/>
            <ac:spMk id="3" creationId="{1EE97491-D281-459D-8388-B4E0EC3AAE6C}"/>
          </ac:spMkLst>
        </pc:spChg>
      </pc:sldChg>
      <pc:sldChg chg="modSp mod">
        <pc:chgData name="Andre Batenburg" userId="c6030a91-3587-4b0c-9a04-30c274d4b5d3" providerId="ADAL" clId="{949B001E-0EFA-4C6F-B9A9-A1A3E57DDA52}" dt="2022-11-03T06:26:36.757" v="174" actId="33524"/>
        <pc:sldMkLst>
          <pc:docMk/>
          <pc:sldMk cId="3529786210" sldId="273"/>
        </pc:sldMkLst>
        <pc:spChg chg="mod">
          <ac:chgData name="Andre Batenburg" userId="c6030a91-3587-4b0c-9a04-30c274d4b5d3" providerId="ADAL" clId="{949B001E-0EFA-4C6F-B9A9-A1A3E57DDA52}" dt="2022-11-03T06:26:36.757" v="174" actId="33524"/>
          <ac:spMkLst>
            <pc:docMk/>
            <pc:sldMk cId="3529786210" sldId="273"/>
            <ac:spMk id="3" creationId="{C211C2AD-0BAA-4F9C-BB4C-FBEAA913AE45}"/>
          </ac:spMkLst>
        </pc:spChg>
      </pc:sldChg>
      <pc:sldChg chg="modSp mod">
        <pc:chgData name="Andre Batenburg" userId="c6030a91-3587-4b0c-9a04-30c274d4b5d3" providerId="ADAL" clId="{949B001E-0EFA-4C6F-B9A9-A1A3E57DDA52}" dt="2022-11-03T07:12:25.338" v="219" actId="20577"/>
        <pc:sldMkLst>
          <pc:docMk/>
          <pc:sldMk cId="3225462457" sldId="274"/>
        </pc:sldMkLst>
        <pc:spChg chg="mod">
          <ac:chgData name="Andre Batenburg" userId="c6030a91-3587-4b0c-9a04-30c274d4b5d3" providerId="ADAL" clId="{949B001E-0EFA-4C6F-B9A9-A1A3E57DDA52}" dt="2022-11-03T07:12:25.338" v="219" actId="20577"/>
          <ac:spMkLst>
            <pc:docMk/>
            <pc:sldMk cId="3225462457" sldId="274"/>
            <ac:spMk id="3" creationId="{C20D9B0B-D5CA-4A31-8CDF-FC0F5316CF08}"/>
          </ac:spMkLst>
        </pc:spChg>
      </pc:sldChg>
      <pc:sldChg chg="modSp mod">
        <pc:chgData name="Andre Batenburg" userId="c6030a91-3587-4b0c-9a04-30c274d4b5d3" providerId="ADAL" clId="{949B001E-0EFA-4C6F-B9A9-A1A3E57DDA52}" dt="2022-11-03T06:32:20.352" v="188" actId="13926"/>
        <pc:sldMkLst>
          <pc:docMk/>
          <pc:sldMk cId="3371048381" sldId="277"/>
        </pc:sldMkLst>
        <pc:spChg chg="mod">
          <ac:chgData name="Andre Batenburg" userId="c6030a91-3587-4b0c-9a04-30c274d4b5d3" providerId="ADAL" clId="{949B001E-0EFA-4C6F-B9A9-A1A3E57DDA52}" dt="2022-11-03T06:32:20.352" v="188" actId="13926"/>
          <ac:spMkLst>
            <pc:docMk/>
            <pc:sldMk cId="3371048381" sldId="277"/>
            <ac:spMk id="4" creationId="{2D34E113-9A2A-4671-8CC4-870790B642BD}"/>
          </ac:spMkLst>
        </pc:spChg>
      </pc:sldChg>
      <pc:sldChg chg="modSp mod">
        <pc:chgData name="Andre Batenburg" userId="c6030a91-3587-4b0c-9a04-30c274d4b5d3" providerId="ADAL" clId="{949B001E-0EFA-4C6F-B9A9-A1A3E57DDA52}" dt="2022-11-01T11:31:49.457" v="133" actId="20577"/>
        <pc:sldMkLst>
          <pc:docMk/>
          <pc:sldMk cId="912891240" sldId="280"/>
        </pc:sldMkLst>
        <pc:spChg chg="mod">
          <ac:chgData name="Andre Batenburg" userId="c6030a91-3587-4b0c-9a04-30c274d4b5d3" providerId="ADAL" clId="{949B001E-0EFA-4C6F-B9A9-A1A3E57DDA52}" dt="2022-11-01T11:31:49.457" v="133" actId="20577"/>
          <ac:spMkLst>
            <pc:docMk/>
            <pc:sldMk cId="912891240" sldId="280"/>
            <ac:spMk id="3" creationId="{1EE97491-D281-459D-8388-B4E0EC3AAE6C}"/>
          </ac:spMkLst>
        </pc:spChg>
      </pc:sldChg>
      <pc:sldChg chg="addSp delSp modSp mod">
        <pc:chgData name="Andre Batenburg" userId="c6030a91-3587-4b0c-9a04-30c274d4b5d3" providerId="ADAL" clId="{949B001E-0EFA-4C6F-B9A9-A1A3E57DDA52}" dt="2022-11-03T07:20:08.030" v="268" actId="20577"/>
        <pc:sldMkLst>
          <pc:docMk/>
          <pc:sldMk cId="553359527" sldId="282"/>
        </pc:sldMkLst>
        <pc:spChg chg="mod">
          <ac:chgData name="Andre Batenburg" userId="c6030a91-3587-4b0c-9a04-30c274d4b5d3" providerId="ADAL" clId="{949B001E-0EFA-4C6F-B9A9-A1A3E57DDA52}" dt="2022-11-03T07:20:08.030" v="268" actId="20577"/>
          <ac:spMkLst>
            <pc:docMk/>
            <pc:sldMk cId="553359527" sldId="282"/>
            <ac:spMk id="3" creationId="{6A74664F-661B-436E-8A61-5A474F475A5D}"/>
          </ac:spMkLst>
        </pc:spChg>
        <pc:picChg chg="del">
          <ac:chgData name="Andre Batenburg" userId="c6030a91-3587-4b0c-9a04-30c274d4b5d3" providerId="ADAL" clId="{949B001E-0EFA-4C6F-B9A9-A1A3E57DDA52}" dt="2022-11-03T07:19:32.452" v="244" actId="478"/>
          <ac:picMkLst>
            <pc:docMk/>
            <pc:sldMk cId="553359527" sldId="282"/>
            <ac:picMk id="5" creationId="{9DE8CB84-850D-4DE7-AD62-9B61B4A60A8E}"/>
          </ac:picMkLst>
        </pc:picChg>
        <pc:picChg chg="add mod">
          <ac:chgData name="Andre Batenburg" userId="c6030a91-3587-4b0c-9a04-30c274d4b5d3" providerId="ADAL" clId="{949B001E-0EFA-4C6F-B9A9-A1A3E57DDA52}" dt="2022-11-03T07:19:59.330" v="248" actId="14100"/>
          <ac:picMkLst>
            <pc:docMk/>
            <pc:sldMk cId="553359527" sldId="282"/>
            <ac:picMk id="6" creationId="{F992341C-CC0E-8C22-0C91-E85F92B91572}"/>
          </ac:picMkLst>
        </pc:picChg>
      </pc:sldChg>
      <pc:sldChg chg="modSp mod">
        <pc:chgData name="Andre Batenburg" userId="c6030a91-3587-4b0c-9a04-30c274d4b5d3" providerId="ADAL" clId="{949B001E-0EFA-4C6F-B9A9-A1A3E57DDA52}" dt="2022-11-01T11:33:26.477" v="149" actId="20577"/>
        <pc:sldMkLst>
          <pc:docMk/>
          <pc:sldMk cId="3726399744" sldId="285"/>
        </pc:sldMkLst>
        <pc:spChg chg="mod">
          <ac:chgData name="Andre Batenburg" userId="c6030a91-3587-4b0c-9a04-30c274d4b5d3" providerId="ADAL" clId="{949B001E-0EFA-4C6F-B9A9-A1A3E57DDA52}" dt="2022-11-01T11:33:26.477" v="149" actId="20577"/>
          <ac:spMkLst>
            <pc:docMk/>
            <pc:sldMk cId="3726399744" sldId="285"/>
            <ac:spMk id="3" creationId="{6A74664F-661B-436E-8A61-5A474F475A5D}"/>
          </ac:spMkLst>
        </pc:spChg>
      </pc:sldChg>
      <pc:sldChg chg="modSp mod">
        <pc:chgData name="Andre Batenburg" userId="c6030a91-3587-4b0c-9a04-30c274d4b5d3" providerId="ADAL" clId="{949B001E-0EFA-4C6F-B9A9-A1A3E57DDA52}" dt="2022-11-03T06:32:25.391" v="189" actId="13926"/>
        <pc:sldMkLst>
          <pc:docMk/>
          <pc:sldMk cId="2812970303" sldId="286"/>
        </pc:sldMkLst>
        <pc:spChg chg="mod">
          <ac:chgData name="Andre Batenburg" userId="c6030a91-3587-4b0c-9a04-30c274d4b5d3" providerId="ADAL" clId="{949B001E-0EFA-4C6F-B9A9-A1A3E57DDA52}" dt="2022-11-03T06:32:25.391" v="189" actId="13926"/>
          <ac:spMkLst>
            <pc:docMk/>
            <pc:sldMk cId="2812970303" sldId="286"/>
            <ac:spMk id="2" creationId="{F0AAD7FE-5E38-4909-B2A9-AACFE7437F07}"/>
          </ac:spMkLst>
        </pc:spChg>
      </pc:sldChg>
      <pc:sldChg chg="modSp mod">
        <pc:chgData name="Andre Batenburg" userId="c6030a91-3587-4b0c-9a04-30c274d4b5d3" providerId="ADAL" clId="{949B001E-0EFA-4C6F-B9A9-A1A3E57DDA52}" dt="2022-11-03T06:32:30.248" v="190" actId="13926"/>
        <pc:sldMkLst>
          <pc:docMk/>
          <pc:sldMk cId="649030648" sldId="287"/>
        </pc:sldMkLst>
        <pc:spChg chg="mod">
          <ac:chgData name="Andre Batenburg" userId="c6030a91-3587-4b0c-9a04-30c274d4b5d3" providerId="ADAL" clId="{949B001E-0EFA-4C6F-B9A9-A1A3E57DDA52}" dt="2022-11-03T06:32:30.248" v="190" actId="13926"/>
          <ac:spMkLst>
            <pc:docMk/>
            <pc:sldMk cId="649030648" sldId="287"/>
            <ac:spMk id="2" creationId="{F0AAD7FE-5E38-4909-B2A9-AACFE7437F07}"/>
          </ac:spMkLst>
        </pc:spChg>
      </pc:sldChg>
      <pc:sldChg chg="addSp delSp modSp mod">
        <pc:chgData name="Andre Batenburg" userId="c6030a91-3587-4b0c-9a04-30c274d4b5d3" providerId="ADAL" clId="{949B001E-0EFA-4C6F-B9A9-A1A3E57DDA52}" dt="2022-11-04T14:52:54.263" v="277" actId="1076"/>
        <pc:sldMkLst>
          <pc:docMk/>
          <pc:sldMk cId="142520883" sldId="288"/>
        </pc:sldMkLst>
        <pc:spChg chg="mod">
          <ac:chgData name="Andre Batenburg" userId="c6030a91-3587-4b0c-9a04-30c274d4b5d3" providerId="ADAL" clId="{949B001E-0EFA-4C6F-B9A9-A1A3E57DDA52}" dt="2022-11-03T06:33:41.705" v="193" actId="13926"/>
          <ac:spMkLst>
            <pc:docMk/>
            <pc:sldMk cId="142520883" sldId="288"/>
            <ac:spMk id="6" creationId="{CF644BF0-5ABC-4B28-9F2C-1757B0ECE1C4}"/>
          </ac:spMkLst>
        </pc:spChg>
        <pc:picChg chg="add mod ord">
          <ac:chgData name="Andre Batenburg" userId="c6030a91-3587-4b0c-9a04-30c274d4b5d3" providerId="ADAL" clId="{949B001E-0EFA-4C6F-B9A9-A1A3E57DDA52}" dt="2022-11-04T14:52:54.263" v="277" actId="1076"/>
          <ac:picMkLst>
            <pc:docMk/>
            <pc:sldMk cId="142520883" sldId="288"/>
            <ac:picMk id="7" creationId="{9A1128F6-2639-DD80-F81B-B8CE11A060BE}"/>
          </ac:picMkLst>
        </pc:picChg>
        <pc:picChg chg="del">
          <ac:chgData name="Andre Batenburg" userId="c6030a91-3587-4b0c-9a04-30c274d4b5d3" providerId="ADAL" clId="{949B001E-0EFA-4C6F-B9A9-A1A3E57DDA52}" dt="2022-11-04T14:52:23.787" v="272" actId="478"/>
          <ac:picMkLst>
            <pc:docMk/>
            <pc:sldMk cId="142520883" sldId="288"/>
            <ac:picMk id="8" creationId="{8C6D1C95-FF57-4137-9600-41AE27EC5D44}"/>
          </ac:picMkLst>
        </pc:picChg>
      </pc:sldChg>
      <pc:sldChg chg="modSp mod">
        <pc:chgData name="Andre Batenburg" userId="c6030a91-3587-4b0c-9a04-30c274d4b5d3" providerId="ADAL" clId="{949B001E-0EFA-4C6F-B9A9-A1A3E57DDA52}" dt="2022-11-01T11:25:44.035" v="88" actId="13926"/>
        <pc:sldMkLst>
          <pc:docMk/>
          <pc:sldMk cId="3059244874" sldId="292"/>
        </pc:sldMkLst>
        <pc:spChg chg="mod">
          <ac:chgData name="Andre Batenburg" userId="c6030a91-3587-4b0c-9a04-30c274d4b5d3" providerId="ADAL" clId="{949B001E-0EFA-4C6F-B9A9-A1A3E57DDA52}" dt="2022-11-01T11:25:40.089" v="87" actId="13926"/>
          <ac:spMkLst>
            <pc:docMk/>
            <pc:sldMk cId="3059244874" sldId="292"/>
            <ac:spMk id="2" creationId="{DF28D848-D110-496F-AD28-2AE95E553C95}"/>
          </ac:spMkLst>
        </pc:spChg>
        <pc:spChg chg="mod">
          <ac:chgData name="Andre Batenburg" userId="c6030a91-3587-4b0c-9a04-30c274d4b5d3" providerId="ADAL" clId="{949B001E-0EFA-4C6F-B9A9-A1A3E57DDA52}" dt="2022-11-01T11:25:44.035" v="88" actId="13926"/>
          <ac:spMkLst>
            <pc:docMk/>
            <pc:sldMk cId="3059244874" sldId="292"/>
            <ac:spMk id="3" creationId="{703326AC-DD39-415A-823D-1FD6D8613B4D}"/>
          </ac:spMkLst>
        </pc:spChg>
      </pc:sldChg>
      <pc:sldChg chg="addSp delSp modSp mod">
        <pc:chgData name="Andre Batenburg" userId="c6030a91-3587-4b0c-9a04-30c274d4b5d3" providerId="ADAL" clId="{949B001E-0EFA-4C6F-B9A9-A1A3E57DDA52}" dt="2022-11-03T07:16:54.986" v="243" actId="1076"/>
        <pc:sldMkLst>
          <pc:docMk/>
          <pc:sldMk cId="1277412391" sldId="293"/>
        </pc:sldMkLst>
        <pc:picChg chg="del">
          <ac:chgData name="Andre Batenburg" userId="c6030a91-3587-4b0c-9a04-30c274d4b5d3" providerId="ADAL" clId="{949B001E-0EFA-4C6F-B9A9-A1A3E57DDA52}" dt="2022-11-03T07:16:06.612" v="236" actId="478"/>
          <ac:picMkLst>
            <pc:docMk/>
            <pc:sldMk cId="1277412391" sldId="293"/>
            <ac:picMk id="6" creationId="{3A22EE3C-547C-4CFE-AD03-1D3D6ABC0A58}"/>
          </ac:picMkLst>
        </pc:picChg>
        <pc:picChg chg="add mod">
          <ac:chgData name="Andre Batenburg" userId="c6030a91-3587-4b0c-9a04-30c274d4b5d3" providerId="ADAL" clId="{949B001E-0EFA-4C6F-B9A9-A1A3E57DDA52}" dt="2022-11-03T07:16:54.986" v="243" actId="1076"/>
          <ac:picMkLst>
            <pc:docMk/>
            <pc:sldMk cId="1277412391" sldId="293"/>
            <ac:picMk id="7" creationId="{970DCD8C-595D-1366-16E5-36F4E3C53360}"/>
          </ac:picMkLst>
        </pc:picChg>
      </pc:sldChg>
      <pc:sldChg chg="modSp mod">
        <pc:chgData name="Andre Batenburg" userId="c6030a91-3587-4b0c-9a04-30c274d4b5d3" providerId="ADAL" clId="{949B001E-0EFA-4C6F-B9A9-A1A3E57DDA52}" dt="2022-11-01T11:26:21.543" v="89" actId="13926"/>
        <pc:sldMkLst>
          <pc:docMk/>
          <pc:sldMk cId="1980481955" sldId="294"/>
        </pc:sldMkLst>
        <pc:spChg chg="mod">
          <ac:chgData name="Andre Batenburg" userId="c6030a91-3587-4b0c-9a04-30c274d4b5d3" providerId="ADAL" clId="{949B001E-0EFA-4C6F-B9A9-A1A3E57DDA52}" dt="2022-11-01T11:26:21.543" v="89" actId="13926"/>
          <ac:spMkLst>
            <pc:docMk/>
            <pc:sldMk cId="1980481955" sldId="294"/>
            <ac:spMk id="2" creationId="{8365D70B-BE1E-4E74-95C1-6B212A60C32F}"/>
          </ac:spMkLst>
        </pc:spChg>
        <pc:spChg chg="mod">
          <ac:chgData name="Andre Batenburg" userId="c6030a91-3587-4b0c-9a04-30c274d4b5d3" providerId="ADAL" clId="{949B001E-0EFA-4C6F-B9A9-A1A3E57DDA52}" dt="2022-11-01T11:26:21.543" v="89" actId="13926"/>
          <ac:spMkLst>
            <pc:docMk/>
            <pc:sldMk cId="1980481955" sldId="294"/>
            <ac:spMk id="3" creationId="{431A05E7-2535-4193-AD75-234F5E2B6AEA}"/>
          </ac:spMkLst>
        </pc:spChg>
        <pc:spChg chg="mod">
          <ac:chgData name="Andre Batenburg" userId="c6030a91-3587-4b0c-9a04-30c274d4b5d3" providerId="ADAL" clId="{949B001E-0EFA-4C6F-B9A9-A1A3E57DDA52}" dt="2022-11-01T11:26:21.543" v="89" actId="13926"/>
          <ac:spMkLst>
            <pc:docMk/>
            <pc:sldMk cId="1980481955" sldId="294"/>
            <ac:spMk id="4" creationId="{C1E9B346-12DE-4B45-9F8D-66E073DEEDF9}"/>
          </ac:spMkLst>
        </pc:spChg>
        <pc:spChg chg="mod">
          <ac:chgData name="Andre Batenburg" userId="c6030a91-3587-4b0c-9a04-30c274d4b5d3" providerId="ADAL" clId="{949B001E-0EFA-4C6F-B9A9-A1A3E57DDA52}" dt="2022-11-01T11:26:21.543" v="89" actId="13926"/>
          <ac:spMkLst>
            <pc:docMk/>
            <pc:sldMk cId="1980481955" sldId="294"/>
            <ac:spMk id="5" creationId="{ADBFBBBA-41D4-4A52-90E5-02184C870438}"/>
          </ac:spMkLst>
        </pc:spChg>
      </pc:sldChg>
      <pc:sldChg chg="modSp mod">
        <pc:chgData name="Andre Batenburg" userId="c6030a91-3587-4b0c-9a04-30c274d4b5d3" providerId="ADAL" clId="{949B001E-0EFA-4C6F-B9A9-A1A3E57DDA52}" dt="2022-11-01T11:27:02.247" v="98" actId="13926"/>
        <pc:sldMkLst>
          <pc:docMk/>
          <pc:sldMk cId="1149580846" sldId="295"/>
        </pc:sldMkLst>
        <pc:spChg chg="mod">
          <ac:chgData name="Andre Batenburg" userId="c6030a91-3587-4b0c-9a04-30c274d4b5d3" providerId="ADAL" clId="{949B001E-0EFA-4C6F-B9A9-A1A3E57DDA52}" dt="2022-11-01T11:26:56.767" v="97" actId="13926"/>
          <ac:spMkLst>
            <pc:docMk/>
            <pc:sldMk cId="1149580846" sldId="295"/>
            <ac:spMk id="2" creationId="{381AC8FB-7CF5-47FA-83DD-FFD6C60370B2}"/>
          </ac:spMkLst>
        </pc:spChg>
        <pc:spChg chg="mod">
          <ac:chgData name="Andre Batenburg" userId="c6030a91-3587-4b0c-9a04-30c274d4b5d3" providerId="ADAL" clId="{949B001E-0EFA-4C6F-B9A9-A1A3E57DDA52}" dt="2022-11-01T11:27:02.247" v="98" actId="13926"/>
          <ac:spMkLst>
            <pc:docMk/>
            <pc:sldMk cId="1149580846" sldId="295"/>
            <ac:spMk id="3" creationId="{0AF16333-C786-42E4-9390-944549E86B1E}"/>
          </ac:spMkLst>
        </pc:spChg>
      </pc:sldChg>
      <pc:sldChg chg="modSp mod">
        <pc:chgData name="Andre Batenburg" userId="c6030a91-3587-4b0c-9a04-30c274d4b5d3" providerId="ADAL" clId="{949B001E-0EFA-4C6F-B9A9-A1A3E57DDA52}" dt="2022-11-01T11:29:24.956" v="100" actId="13926"/>
        <pc:sldMkLst>
          <pc:docMk/>
          <pc:sldMk cId="3813723346" sldId="296"/>
        </pc:sldMkLst>
        <pc:spChg chg="mod">
          <ac:chgData name="Andre Batenburg" userId="c6030a91-3587-4b0c-9a04-30c274d4b5d3" providerId="ADAL" clId="{949B001E-0EFA-4C6F-B9A9-A1A3E57DDA52}" dt="2022-11-01T11:29:21.378" v="99" actId="13926"/>
          <ac:spMkLst>
            <pc:docMk/>
            <pc:sldMk cId="3813723346" sldId="296"/>
            <ac:spMk id="2" creationId="{381AC8FB-7CF5-47FA-83DD-FFD6C60370B2}"/>
          </ac:spMkLst>
        </pc:spChg>
        <pc:spChg chg="mod">
          <ac:chgData name="Andre Batenburg" userId="c6030a91-3587-4b0c-9a04-30c274d4b5d3" providerId="ADAL" clId="{949B001E-0EFA-4C6F-B9A9-A1A3E57DDA52}" dt="2022-11-01T11:29:24.956" v="100" actId="13926"/>
          <ac:spMkLst>
            <pc:docMk/>
            <pc:sldMk cId="3813723346" sldId="296"/>
            <ac:spMk id="3" creationId="{0AF16333-C786-42E4-9390-944549E86B1E}"/>
          </ac:spMkLst>
        </pc:spChg>
      </pc:sldChg>
      <pc:sldChg chg="modSp mod">
        <pc:chgData name="Andre Batenburg" userId="c6030a91-3587-4b0c-9a04-30c274d4b5d3" providerId="ADAL" clId="{949B001E-0EFA-4C6F-B9A9-A1A3E57DDA52}" dt="2022-11-01T11:29:34.279" v="102" actId="13926"/>
        <pc:sldMkLst>
          <pc:docMk/>
          <pc:sldMk cId="835859289" sldId="297"/>
        </pc:sldMkLst>
        <pc:spChg chg="mod">
          <ac:chgData name="Andre Batenburg" userId="c6030a91-3587-4b0c-9a04-30c274d4b5d3" providerId="ADAL" clId="{949B001E-0EFA-4C6F-B9A9-A1A3E57DDA52}" dt="2022-11-01T11:29:31.216" v="101" actId="13926"/>
          <ac:spMkLst>
            <pc:docMk/>
            <pc:sldMk cId="835859289" sldId="297"/>
            <ac:spMk id="2" creationId="{381AC8FB-7CF5-47FA-83DD-FFD6C60370B2}"/>
          </ac:spMkLst>
        </pc:spChg>
        <pc:spChg chg="mod">
          <ac:chgData name="Andre Batenburg" userId="c6030a91-3587-4b0c-9a04-30c274d4b5d3" providerId="ADAL" clId="{949B001E-0EFA-4C6F-B9A9-A1A3E57DDA52}" dt="2022-11-01T11:29:34.279" v="102" actId="13926"/>
          <ac:spMkLst>
            <pc:docMk/>
            <pc:sldMk cId="835859289" sldId="297"/>
            <ac:spMk id="3" creationId="{0AF16333-C786-42E4-9390-944549E86B1E}"/>
          </ac:spMkLst>
        </pc:spChg>
      </pc:sldChg>
      <pc:sldChg chg="modSp mod">
        <pc:chgData name="Andre Batenburg" userId="c6030a91-3587-4b0c-9a04-30c274d4b5d3" providerId="ADAL" clId="{949B001E-0EFA-4C6F-B9A9-A1A3E57DDA52}" dt="2022-11-03T06:22:15.206" v="155" actId="13926"/>
        <pc:sldMkLst>
          <pc:docMk/>
          <pc:sldMk cId="1831370283" sldId="298"/>
        </pc:sldMkLst>
        <pc:spChg chg="mod">
          <ac:chgData name="Andre Batenburg" userId="c6030a91-3587-4b0c-9a04-30c274d4b5d3" providerId="ADAL" clId="{949B001E-0EFA-4C6F-B9A9-A1A3E57DDA52}" dt="2022-11-03T06:22:15.206" v="155" actId="13926"/>
          <ac:spMkLst>
            <pc:docMk/>
            <pc:sldMk cId="1831370283" sldId="298"/>
            <ac:spMk id="2" creationId="{1BF4EC6A-9F31-4A96-9827-48617C19E8A7}"/>
          </ac:spMkLst>
        </pc:spChg>
      </pc:sldChg>
      <pc:sldChg chg="modSp mod">
        <pc:chgData name="Andre Batenburg" userId="c6030a91-3587-4b0c-9a04-30c274d4b5d3" providerId="ADAL" clId="{949B001E-0EFA-4C6F-B9A9-A1A3E57DDA52}" dt="2022-11-03T06:23:26.518" v="161" actId="13926"/>
        <pc:sldMkLst>
          <pc:docMk/>
          <pc:sldMk cId="2195329819" sldId="299"/>
        </pc:sldMkLst>
        <pc:spChg chg="mod">
          <ac:chgData name="Andre Batenburg" userId="c6030a91-3587-4b0c-9a04-30c274d4b5d3" providerId="ADAL" clId="{949B001E-0EFA-4C6F-B9A9-A1A3E57DDA52}" dt="2022-11-03T06:23:26.518" v="161" actId="13926"/>
          <ac:spMkLst>
            <pc:docMk/>
            <pc:sldMk cId="2195329819" sldId="299"/>
            <ac:spMk id="4" creationId="{2D34E113-9A2A-4671-8CC4-870790B642BD}"/>
          </ac:spMkLst>
        </pc:spChg>
      </pc:sldChg>
      <pc:sldChg chg="modSp mod">
        <pc:chgData name="Andre Batenburg" userId="c6030a91-3587-4b0c-9a04-30c274d4b5d3" providerId="ADAL" clId="{949B001E-0EFA-4C6F-B9A9-A1A3E57DDA52}" dt="2022-11-03T06:27:47.622" v="185" actId="6549"/>
        <pc:sldMkLst>
          <pc:docMk/>
          <pc:sldMk cId="2618906977" sldId="300"/>
        </pc:sldMkLst>
        <pc:spChg chg="mod">
          <ac:chgData name="Andre Batenburg" userId="c6030a91-3587-4b0c-9a04-30c274d4b5d3" providerId="ADAL" clId="{949B001E-0EFA-4C6F-B9A9-A1A3E57DDA52}" dt="2022-11-03T06:27:33.688" v="176" actId="13926"/>
          <ac:spMkLst>
            <pc:docMk/>
            <pc:sldMk cId="2618906977" sldId="300"/>
            <ac:spMk id="4" creationId="{2D34E113-9A2A-4671-8CC4-870790B642BD}"/>
          </ac:spMkLst>
        </pc:spChg>
        <pc:spChg chg="mod">
          <ac:chgData name="Andre Batenburg" userId="c6030a91-3587-4b0c-9a04-30c274d4b5d3" providerId="ADAL" clId="{949B001E-0EFA-4C6F-B9A9-A1A3E57DDA52}" dt="2022-11-03T06:27:47.622" v="185" actId="6549"/>
          <ac:spMkLst>
            <pc:docMk/>
            <pc:sldMk cId="2618906977" sldId="300"/>
            <ac:spMk id="5" creationId="{B49515C9-2FFE-4347-A9A2-667222243B45}"/>
          </ac:spMkLst>
        </pc:spChg>
      </pc:sldChg>
      <pc:sldChg chg="modSp mod">
        <pc:chgData name="Andre Batenburg" userId="c6030a91-3587-4b0c-9a04-30c274d4b5d3" providerId="ADAL" clId="{949B001E-0EFA-4C6F-B9A9-A1A3E57DDA52}" dt="2022-11-03T06:28:15.329" v="187" actId="13926"/>
        <pc:sldMkLst>
          <pc:docMk/>
          <pc:sldMk cId="2376113798" sldId="301"/>
        </pc:sldMkLst>
        <pc:spChg chg="mod">
          <ac:chgData name="Andre Batenburg" userId="c6030a91-3587-4b0c-9a04-30c274d4b5d3" providerId="ADAL" clId="{949B001E-0EFA-4C6F-B9A9-A1A3E57DDA52}" dt="2022-11-03T06:28:10.687" v="186" actId="13926"/>
          <ac:spMkLst>
            <pc:docMk/>
            <pc:sldMk cId="2376113798" sldId="301"/>
            <ac:spMk id="2" creationId="{0D056B63-9CD9-42E5-AB19-162E67F6CE04}"/>
          </ac:spMkLst>
        </pc:spChg>
        <pc:spChg chg="mod">
          <ac:chgData name="Andre Batenburg" userId="c6030a91-3587-4b0c-9a04-30c274d4b5d3" providerId="ADAL" clId="{949B001E-0EFA-4C6F-B9A9-A1A3E57DDA52}" dt="2022-11-03T06:28:15.329" v="187" actId="13926"/>
          <ac:spMkLst>
            <pc:docMk/>
            <pc:sldMk cId="2376113798" sldId="301"/>
            <ac:spMk id="3" creationId="{2F444D9E-FF65-4DCB-B619-62C87039C077}"/>
          </ac:spMkLst>
        </pc:spChg>
      </pc:sldChg>
      <pc:sldChg chg="modSp mod">
        <pc:chgData name="Andre Batenburg" userId="c6030a91-3587-4b0c-9a04-30c274d4b5d3" providerId="ADAL" clId="{949B001E-0EFA-4C6F-B9A9-A1A3E57DDA52}" dt="2022-11-03T06:35:52.242" v="194" actId="13926"/>
        <pc:sldMkLst>
          <pc:docMk/>
          <pc:sldMk cId="2309313669" sldId="302"/>
        </pc:sldMkLst>
        <pc:graphicFrameChg chg="modGraphic">
          <ac:chgData name="Andre Batenburg" userId="c6030a91-3587-4b0c-9a04-30c274d4b5d3" providerId="ADAL" clId="{949B001E-0EFA-4C6F-B9A9-A1A3E57DDA52}" dt="2022-11-03T06:35:52.242" v="194" actId="13926"/>
          <ac:graphicFrameMkLst>
            <pc:docMk/>
            <pc:sldMk cId="2309313669" sldId="302"/>
            <ac:graphicFrameMk id="7" creationId="{FA3BA9BB-0A72-47A8-9FB2-78B7DCEFB251}"/>
          </ac:graphicFrameMkLst>
        </pc:graphicFrameChg>
      </pc:sldChg>
      <pc:sldChg chg="modSp mod">
        <pc:chgData name="Andre Batenburg" userId="c6030a91-3587-4b0c-9a04-30c274d4b5d3" providerId="ADAL" clId="{949B001E-0EFA-4C6F-B9A9-A1A3E57DDA52}" dt="2022-11-03T06:35:57.118" v="195" actId="13926"/>
        <pc:sldMkLst>
          <pc:docMk/>
          <pc:sldMk cId="1791770329" sldId="303"/>
        </pc:sldMkLst>
        <pc:graphicFrameChg chg="modGraphic">
          <ac:chgData name="Andre Batenburg" userId="c6030a91-3587-4b0c-9a04-30c274d4b5d3" providerId="ADAL" clId="{949B001E-0EFA-4C6F-B9A9-A1A3E57DDA52}" dt="2022-11-03T06:35:57.118" v="195" actId="13926"/>
          <ac:graphicFrameMkLst>
            <pc:docMk/>
            <pc:sldMk cId="1791770329" sldId="303"/>
            <ac:graphicFrameMk id="7" creationId="{FA3BA9BB-0A72-47A8-9FB2-78B7DCEFB251}"/>
          </ac:graphicFrameMkLst>
        </pc:graphicFrameChg>
      </pc:sldChg>
      <pc:sldChg chg="modSp mod">
        <pc:chgData name="Andre Batenburg" userId="c6030a91-3587-4b0c-9a04-30c274d4b5d3" providerId="ADAL" clId="{949B001E-0EFA-4C6F-B9A9-A1A3E57DDA52}" dt="2022-11-03T06:36:01.975" v="196" actId="13926"/>
        <pc:sldMkLst>
          <pc:docMk/>
          <pc:sldMk cId="1882584054" sldId="304"/>
        </pc:sldMkLst>
        <pc:graphicFrameChg chg="modGraphic">
          <ac:chgData name="Andre Batenburg" userId="c6030a91-3587-4b0c-9a04-30c274d4b5d3" providerId="ADAL" clId="{949B001E-0EFA-4C6F-B9A9-A1A3E57DDA52}" dt="2022-11-03T06:36:01.975" v="196" actId="13926"/>
          <ac:graphicFrameMkLst>
            <pc:docMk/>
            <pc:sldMk cId="1882584054" sldId="304"/>
            <ac:graphicFrameMk id="7" creationId="{FA3BA9BB-0A72-47A8-9FB2-78B7DCEFB251}"/>
          </ac:graphicFrameMkLst>
        </pc:graphicFrameChg>
      </pc:sldChg>
      <pc:sldChg chg="addSp delSp modSp new mod">
        <pc:chgData name="Andre Batenburg" userId="c6030a91-3587-4b0c-9a04-30c274d4b5d3" providerId="ADAL" clId="{949B001E-0EFA-4C6F-B9A9-A1A3E57DDA52}" dt="2022-11-04T14:50:36.879" v="271" actId="1076"/>
        <pc:sldMkLst>
          <pc:docMk/>
          <pc:sldMk cId="2836421034" sldId="305"/>
        </pc:sldMkLst>
        <pc:spChg chg="mod">
          <ac:chgData name="Andre Batenburg" userId="c6030a91-3587-4b0c-9a04-30c274d4b5d3" providerId="ADAL" clId="{949B001E-0EFA-4C6F-B9A9-A1A3E57DDA52}" dt="2022-11-03T07:15:00.317" v="234" actId="20577"/>
          <ac:spMkLst>
            <pc:docMk/>
            <pc:sldMk cId="2836421034" sldId="305"/>
            <ac:spMk id="2" creationId="{E48A09D3-970D-ECB0-DEB3-69B36139AEBC}"/>
          </ac:spMkLst>
        </pc:spChg>
        <pc:spChg chg="del">
          <ac:chgData name="Andre Batenburg" userId="c6030a91-3587-4b0c-9a04-30c274d4b5d3" providerId="ADAL" clId="{949B001E-0EFA-4C6F-B9A9-A1A3E57DDA52}" dt="2022-11-03T07:15:04.283" v="235" actId="478"/>
          <ac:spMkLst>
            <pc:docMk/>
            <pc:sldMk cId="2836421034" sldId="305"/>
            <ac:spMk id="3" creationId="{7FA6C1A9-C23E-A67C-CA6E-845CDC7ED286}"/>
          </ac:spMkLst>
        </pc:spChg>
        <pc:picChg chg="add mod">
          <ac:chgData name="Andre Batenburg" userId="c6030a91-3587-4b0c-9a04-30c274d4b5d3" providerId="ADAL" clId="{949B001E-0EFA-4C6F-B9A9-A1A3E57DDA52}" dt="2022-11-04T14:50:36.879" v="271" actId="1076"/>
          <ac:picMkLst>
            <pc:docMk/>
            <pc:sldMk cId="2836421034" sldId="305"/>
            <ac:picMk id="6" creationId="{58F982B8-2CB0-BC6F-AEF7-511BA9414B0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4-11-2022</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4-11-2022</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3.ti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882462" y="2714400"/>
            <a:ext cx="3546663"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710652"/>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571500" y="1308190"/>
            <a:ext cx="3546663"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571500" y="701083"/>
            <a:ext cx="4914900"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16465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79357" y="4807511"/>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2" name="Slide Number Placeholder 1"/>
          <p:cNvSpPr>
            <a:spLocks noGrp="1"/>
          </p:cNvSpPr>
          <p:nvPr>
            <p:ph type="sldNum" sz="quarter" idx="12"/>
          </p:nvPr>
        </p:nvSpPr>
        <p:spPr>
          <a:xfrm>
            <a:off x="624849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2367757" y="1992355"/>
            <a:ext cx="4141786" cy="434093"/>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5916708" y="2719481"/>
            <a:ext cx="2541586" cy="248017"/>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15638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579036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71500" y="1357070"/>
            <a:ext cx="8283575" cy="331116"/>
          </a:xfrm>
          <a:prstGeom prst="rect">
            <a:avLst/>
          </a:prstGeom>
        </p:spPr>
        <p:txBody>
          <a:bodyPr wrap="square" anchor="b">
            <a:spAutoFit/>
          </a:bodyPr>
          <a:lstStyle>
            <a:lvl1pPr marL="0" indent="0">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a:t>Klik om tekst toe te voegen</a:t>
            </a:r>
          </a:p>
        </p:txBody>
      </p:sp>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594728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788469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935332"/>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935331"/>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571499"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4809671"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858398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p>
        </p:txBody>
      </p:sp>
      <p:sp>
        <p:nvSpPr>
          <p:cNvPr id="3" name="Slide Number Placeholder 2"/>
          <p:cNvSpPr>
            <a:spLocks noGrp="1"/>
          </p:cNvSpPr>
          <p:nvPr>
            <p:ph type="sldNum" sz="quarter" idx="12"/>
          </p:nvPr>
        </p:nvSpPr>
        <p:spPr>
          <a:xfrm>
            <a:off x="6329176"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67426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882462" y="2714400"/>
            <a:ext cx="3538800"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882461" y="1938337"/>
            <a:ext cx="4770194"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578799" y="1752300"/>
            <a:ext cx="565200" cy="3391200"/>
          </a:xfrm>
          <a:prstGeom prst="rect">
            <a:avLst/>
          </a:prstGeom>
        </p:spPr>
      </p:pic>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507180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86130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3838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77067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841833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885305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99297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882462" y="1936800"/>
            <a:ext cx="4659356" cy="5832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96855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682000" y="4795200"/>
            <a:ext cx="28956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6274800" y="4795200"/>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571500" y="1428750"/>
            <a:ext cx="7837488" cy="313967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a:t>Eerste niveau</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571500" y="701083"/>
            <a:ext cx="7837488" cy="492443"/>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8" r:id="rId4"/>
    <p:sldLayoutId id="2147483669" r:id="rId5"/>
    <p:sldLayoutId id="2147483670" r:id="rId6"/>
    <p:sldLayoutId id="2147483671" r:id="rId7"/>
    <p:sldLayoutId id="2147483672" r:id="rId8"/>
    <p:sldLayoutId id="2147483677" r:id="rId9"/>
    <p:sldLayoutId id="2147483650" r:id="rId10"/>
    <p:sldLayoutId id="2147483673" r:id="rId11"/>
    <p:sldLayoutId id="2147483655" r:id="rId12"/>
    <p:sldLayoutId id="2147483675" r:id="rId13"/>
    <p:sldLayoutId id="2147483651" r:id="rId14"/>
    <p:sldLayoutId id="2147483652" r:id="rId15"/>
    <p:sldLayoutId id="2147483676" r:id="rId16"/>
    <p:sldLayoutId id="2147483654" r:id="rId17"/>
    <p:sldLayoutId id="2147483662" r:id="rId18"/>
  </p:sldLayoutIdLst>
  <p:hf hd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9.xml"/><Relationship Id="rId9" Type="http://schemas.openxmlformats.org/officeDocument/2006/relationships/hyperlink" Target="http://learningguide.pzh.local/html/chapter_D8718761-60C9-480B-9E38-E1E8AFB9EA3F.ht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hyperlink" Target="http://www.data.europa.eu/"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infoq.com/articles/C4-architecture-model/" TargetMode="External"/><Relationship Id="rId2" Type="http://schemas.openxmlformats.org/officeDocument/2006/relationships/hyperlink" Target="https://www.archimatetool.com/" TargetMode="External"/><Relationship Id="rId1" Type="http://schemas.openxmlformats.org/officeDocument/2006/relationships/slideLayout" Target="../slideLayouts/slideLayout10.xml"/><Relationship Id="rId4" Type="http://schemas.openxmlformats.org/officeDocument/2006/relationships/hyperlink" Target="https://www.archimatetool.com/blog/2020/04/18/c4-model-architecture-viewpoint-and-archi-4-7/"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p:txBody>
          <a:bodyPr/>
          <a:lstStyle/>
          <a:p>
            <a:r>
              <a:rPr lang="nl-NL" dirty="0" err="1"/>
              <a:t>Algorithmregister</a:t>
            </a:r>
            <a:endParaRPr lang="nl-NL" dirty="0"/>
          </a:p>
        </p:txBody>
      </p:sp>
      <p:sp>
        <p:nvSpPr>
          <p:cNvPr id="7" name="Subtitle 6"/>
          <p:cNvSpPr>
            <a:spLocks noGrp="1"/>
          </p:cNvSpPr>
          <p:nvPr>
            <p:ph type="subTitle" idx="1"/>
            <p:custDataLst>
              <p:tags r:id="rId3"/>
            </p:custDataLst>
          </p:nvPr>
        </p:nvSpPr>
        <p:spPr>
          <a:xfrm>
            <a:off x="882462" y="2714400"/>
            <a:ext cx="3546663" cy="1109343"/>
          </a:xfrm>
        </p:spPr>
        <p:txBody>
          <a:bodyPr/>
          <a:lstStyle/>
          <a:p>
            <a:r>
              <a:rPr lang="en-US" i="1" dirty="0"/>
              <a:t>A mathematical formula should never be "owned" by anybody! Mathematics belongs to God. Donald Knuth.</a:t>
            </a:r>
          </a:p>
        </p:txBody>
      </p:sp>
      <p:sp>
        <p:nvSpPr>
          <p:cNvPr id="5" name="Rectangle 4">
            <a:hlinkClick r:id="rId9"/>
          </p:cNvPr>
          <p:cNvSpPr/>
          <p:nvPr>
            <p:custDataLst>
              <p:tags r:id="rId4"/>
            </p:custDataLst>
          </p:nvPr>
        </p:nvSpPr>
        <p:spPr>
          <a:xfrm>
            <a:off x="5846763" y="3950622"/>
            <a:ext cx="2597990" cy="1084532"/>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A. Batenburg, November 4, 2022</a:t>
            </a:r>
          </a:p>
        </p:txBody>
      </p:sp>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en-US" dirty="0"/>
              <a:t>Guidelines for the developed applications</a:t>
            </a:r>
            <a:endParaRPr lang="nl-NL" dirty="0"/>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92500" lnSpcReduction="20000"/>
          </a:bodyPr>
          <a:lstStyle/>
          <a:p>
            <a:r>
              <a:rPr lang="en-US" dirty="0"/>
              <a:t>The applications that are being developed for the AR meet:</a:t>
            </a:r>
            <a:endParaRPr lang="nl-NL" dirty="0"/>
          </a:p>
          <a:p>
            <a:pPr lvl="1"/>
            <a:r>
              <a:rPr lang="en-US" dirty="0"/>
              <a:t>an externally used web application or mobile web app complies with the cookie policy as embedded in the Telecommunications Act.</a:t>
            </a:r>
          </a:p>
          <a:p>
            <a:pPr lvl="1"/>
            <a:r>
              <a:rPr lang="en-US" dirty="0"/>
              <a:t>an internal website, an external website or a mobile web app must meet the subset of </a:t>
            </a:r>
            <a:r>
              <a:rPr lang="en-US" dirty="0" err="1"/>
              <a:t>Digiaccessible's</a:t>
            </a:r>
            <a:r>
              <a:rPr lang="en-US" dirty="0"/>
              <a:t> requirements with classification A or classification AA.</a:t>
            </a:r>
          </a:p>
          <a:p>
            <a:pPr lvl="1"/>
            <a:r>
              <a:rPr lang="en-US" dirty="0"/>
              <a:t>an internally used web application must, </a:t>
            </a:r>
            <a:r>
              <a:rPr lang="en-US" i="1" dirty="0"/>
              <a:t>in principle</a:t>
            </a:r>
            <a:r>
              <a:rPr lang="en-US" dirty="0"/>
              <a:t>, comply with the subset of the requirements of Digi Accessible with classification A or classification AA.</a:t>
            </a:r>
          </a:p>
          <a:p>
            <a:pPr lvl="1"/>
            <a:r>
              <a:rPr lang="en-US" dirty="0"/>
              <a:t>a mobile app must comply with the entire set of ICT security guidelines for mobile apps.</a:t>
            </a:r>
          </a:p>
          <a:p>
            <a:pPr lvl="1"/>
            <a:r>
              <a:rPr lang="en-US" dirty="0"/>
              <a:t>An application that uses a browser (HTML) supports the most commonly used browsers: Chrome, Firefox, Safari, Edge.</a:t>
            </a:r>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5859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Goals</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62500" lnSpcReduction="20000"/>
          </a:bodyPr>
          <a:lstStyle/>
          <a:p>
            <a:r>
              <a:rPr lang="en-US" dirty="0"/>
              <a:t>However, the idea is that the above does not exactly indicate the principles to be used. That is why we looked additionally at what the stakeholders want. The stakeholders are limited to the </a:t>
            </a:r>
            <a:r>
              <a:rPr lang="en-US" dirty="0" err="1"/>
              <a:t>interestholder</a:t>
            </a:r>
            <a:r>
              <a:rPr lang="en-US" dirty="0"/>
              <a:t> (citizen), representative (local Council), algorithm holder (responsible), process owner and the executor (enforcer). Looking at their user stories, this gives a number of values: Trust, Controllability, Minimum disclosure requirement, </a:t>
            </a:r>
            <a:r>
              <a:rPr lang="en-US" dirty="0" err="1"/>
              <a:t>Explainability</a:t>
            </a:r>
            <a:r>
              <a:rPr lang="en-US" dirty="0"/>
              <a:t>. Outcome is then defined that support the purpose of Publicity algorithms. This yields the following four principles </a:t>
            </a:r>
            <a:endParaRPr lang="nl-NL" dirty="0"/>
          </a:p>
          <a:p>
            <a:pPr lvl="1"/>
            <a:r>
              <a:rPr lang="en-US" b="1" dirty="0"/>
              <a:t>A good information position</a:t>
            </a:r>
            <a:r>
              <a:rPr lang="en-US" dirty="0"/>
              <a:t>: Information is available, usable and resistant. Information is presented in an understandable way to the customer (both inside and outside the organization), so that he/she is in control of the use of his/her data. Customers must be able to identify incorrect registration of their data. Note: this is about the transparency of the algorithm!</a:t>
            </a:r>
            <a:endParaRPr lang="nl-NL" dirty="0"/>
          </a:p>
          <a:p>
            <a:pPr lvl="1"/>
            <a:r>
              <a:rPr lang="en-US" b="1" dirty="0"/>
              <a:t>The fundamental of the algorithm is known</a:t>
            </a:r>
            <a:r>
              <a:rPr lang="en-US" dirty="0"/>
              <a:t>: a decision must have been made about the use of the algorithm and this is described in the AR.</a:t>
            </a:r>
            <a:endParaRPr lang="nl-NL" dirty="0"/>
          </a:p>
          <a:p>
            <a:pPr lvl="1"/>
            <a:r>
              <a:rPr lang="en-US" b="1" dirty="0"/>
              <a:t>AR standard names minimal set</a:t>
            </a:r>
            <a:r>
              <a:rPr lang="en-US" dirty="0"/>
              <a:t>: the standard describes which data is always in the description of an algorithm. This ensures that the algorithms are accessible at a comparable </a:t>
            </a:r>
            <a:r>
              <a:rPr lang="en-US" dirty="0" err="1"/>
              <a:t>informationlevel</a:t>
            </a:r>
            <a:r>
              <a:rPr lang="en-US" dirty="0"/>
              <a:t>.</a:t>
            </a:r>
          </a:p>
          <a:p>
            <a:pPr lvl="1"/>
            <a:r>
              <a:rPr lang="en-US" b="1" dirty="0"/>
              <a:t>AR standard includes operation and data</a:t>
            </a:r>
            <a:r>
              <a:rPr lang="en-US" dirty="0"/>
              <a:t>: in order to understand an algorithm, it is a requirement to describe in the AR the operation of the algorithm and the data used in the algorithm.</a:t>
            </a:r>
            <a:endParaRPr lang="nl-NL" dirty="0"/>
          </a:p>
          <a:p>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891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t>Goals</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1</a:t>
            </a:fld>
            <a:endParaRPr lang="nl-NL"/>
          </a:p>
        </p:txBody>
      </p:sp>
      <p:pic>
        <p:nvPicPr>
          <p:cNvPr id="7" name="Afbeelding 6">
            <a:extLst>
              <a:ext uri="{FF2B5EF4-FFF2-40B4-BE49-F238E27FC236}">
                <a16:creationId xmlns:a16="http://schemas.microsoft.com/office/drawing/2014/main" id="{750B6E49-6CF5-47B0-B0A5-9881D46E70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8431" y="1203095"/>
            <a:ext cx="6257460" cy="3543220"/>
          </a:xfrm>
          <a:prstGeom prst="rect">
            <a:avLst/>
          </a:prstGeom>
        </p:spPr>
      </p:pic>
    </p:spTree>
    <p:extLst>
      <p:ext uri="{BB962C8B-B14F-4D97-AF65-F5344CB8AC3E}">
        <p14:creationId xmlns:p14="http://schemas.microsoft.com/office/powerpoint/2010/main" val="1831370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en-US" dirty="0"/>
              <a:t>This section describes the business objects, representations, </a:t>
            </a:r>
            <a:r>
              <a:rPr lang="en-US"/>
              <a:t>business functions, roles </a:t>
            </a:r>
            <a:r>
              <a:rPr lang="en-US" dirty="0"/>
              <a:t>and actors.</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Business </a:t>
            </a:r>
            <a:r>
              <a:rPr lang="nl-NL" sz="2700" dirty="0" err="1"/>
              <a:t>architecture</a:t>
            </a:r>
            <a:endParaRPr lang="nl-NL" sz="2700" dirty="0"/>
          </a:p>
        </p:txBody>
      </p:sp>
      <p:pic>
        <p:nvPicPr>
          <p:cNvPr id="6" name="Afbeelding 5">
            <a:extLst>
              <a:ext uri="{FF2B5EF4-FFF2-40B4-BE49-F238E27FC236}">
                <a16:creationId xmlns:a16="http://schemas.microsoft.com/office/drawing/2014/main" id="{F992341C-CC0E-8C22-0C91-E85F92B915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6677" y="1811676"/>
            <a:ext cx="6472312" cy="2914005"/>
          </a:xfrm>
          <a:prstGeom prst="rect">
            <a:avLst/>
          </a:prstGeom>
        </p:spPr>
      </p:pic>
    </p:spTree>
    <p:extLst>
      <p:ext uri="{BB962C8B-B14F-4D97-AF65-F5344CB8AC3E}">
        <p14:creationId xmlns:p14="http://schemas.microsoft.com/office/powerpoint/2010/main" val="55335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err="1"/>
              <a:t>Businessobjectmodel</a:t>
            </a:r>
            <a:endParaRPr lang="nl-NL" dirty="0"/>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a:bodyPr>
          <a:lstStyle/>
          <a:p>
            <a:r>
              <a:rPr lang="en-US" dirty="0"/>
              <a:t>The main point is that </a:t>
            </a:r>
            <a:r>
              <a:rPr lang="en-US" u="sng" dirty="0"/>
              <a:t>the application of an algorithm</a:t>
            </a:r>
            <a:r>
              <a:rPr lang="en-US" dirty="0"/>
              <a:t> must be based on a foundation (a law, a regulation), is used in a </a:t>
            </a:r>
            <a:r>
              <a:rPr lang="en-US" u="sng" dirty="0"/>
              <a:t>process</a:t>
            </a:r>
            <a:r>
              <a:rPr lang="en-US" dirty="0"/>
              <a:t> and that the algorithm makes use of </a:t>
            </a:r>
            <a:r>
              <a:rPr lang="en-US" u="sng" dirty="0"/>
              <a:t>data</a:t>
            </a:r>
            <a:r>
              <a:rPr lang="en-US" dirty="0"/>
              <a:t>. That is the scope of information you need about the application of an algorithm.</a:t>
            </a:r>
          </a:p>
          <a:p>
            <a:r>
              <a:rPr lang="en-US" dirty="0"/>
              <a:t>In the process, </a:t>
            </a:r>
            <a:r>
              <a:rPr lang="en-US" u="sng" dirty="0"/>
              <a:t>the outcome of the algorithm</a:t>
            </a:r>
            <a:r>
              <a:rPr lang="en-US" dirty="0"/>
              <a:t> is input to arrive at a decision.</a:t>
            </a:r>
          </a:p>
          <a:p>
            <a:r>
              <a:rPr lang="en-US" dirty="0"/>
              <a:t>You can appeal the decision and you can then lodge an objection or appeal. That objection or appeal can implicitly concern the algorithm. But you don't explicitly object to the algorithm itself. You can, however, lodge an objection or appeal against the decision to use the algorithm. However, there is no statutory provision for such a decision.</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113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t>Businessobjectmodel</a:t>
            </a:r>
            <a:endParaRPr lang="nl-NL" sz="2700" dirty="0"/>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4</a:t>
            </a:fld>
            <a:endParaRPr lang="nl-NL"/>
          </a:p>
        </p:txBody>
      </p:sp>
      <p:pic>
        <p:nvPicPr>
          <p:cNvPr id="6" name="Afbeelding 5">
            <a:extLst>
              <a:ext uri="{FF2B5EF4-FFF2-40B4-BE49-F238E27FC236}">
                <a16:creationId xmlns:a16="http://schemas.microsoft.com/office/drawing/2014/main" id="{41817C67-F063-4B33-8549-D1B5DAFAE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317586"/>
            <a:ext cx="6724010" cy="3362005"/>
          </a:xfrm>
          <a:prstGeom prst="rect">
            <a:avLst/>
          </a:prstGeom>
        </p:spPr>
      </p:pic>
    </p:spTree>
    <p:extLst>
      <p:ext uri="{BB962C8B-B14F-4D97-AF65-F5344CB8AC3E}">
        <p14:creationId xmlns:p14="http://schemas.microsoft.com/office/powerpoint/2010/main" val="2195329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153B30-C3E5-4159-876F-F3F53110481D}"/>
              </a:ext>
            </a:extLst>
          </p:cNvPr>
          <p:cNvSpPr>
            <a:spLocks noGrp="1"/>
          </p:cNvSpPr>
          <p:nvPr>
            <p:ph type="title"/>
          </p:nvPr>
        </p:nvSpPr>
        <p:spPr/>
        <p:txBody>
          <a:bodyPr/>
          <a:lstStyle/>
          <a:p>
            <a:r>
              <a:rPr lang="nl-NL" dirty="0" err="1"/>
              <a:t>Roles</a:t>
            </a:r>
            <a:r>
              <a:rPr lang="nl-NL" dirty="0"/>
              <a:t> </a:t>
            </a:r>
            <a:r>
              <a:rPr lang="nl-NL" dirty="0" err="1"/>
              <a:t>and</a:t>
            </a:r>
            <a:r>
              <a:rPr lang="nl-NL" dirty="0"/>
              <a:t> actors</a:t>
            </a:r>
          </a:p>
        </p:txBody>
      </p:sp>
      <p:sp>
        <p:nvSpPr>
          <p:cNvPr id="3" name="Tijdelijke aanduiding voor inhoud 2">
            <a:extLst>
              <a:ext uri="{FF2B5EF4-FFF2-40B4-BE49-F238E27FC236}">
                <a16:creationId xmlns:a16="http://schemas.microsoft.com/office/drawing/2014/main" id="{C211C2AD-0BAA-4F9C-BB4C-FBEAA913AE45}"/>
              </a:ext>
            </a:extLst>
          </p:cNvPr>
          <p:cNvSpPr>
            <a:spLocks noGrp="1"/>
          </p:cNvSpPr>
          <p:nvPr>
            <p:ph idx="1"/>
          </p:nvPr>
        </p:nvSpPr>
        <p:spPr>
          <a:xfrm>
            <a:off x="645459" y="1405697"/>
            <a:ext cx="7763529" cy="3139679"/>
          </a:xfrm>
        </p:spPr>
        <p:txBody>
          <a:bodyPr>
            <a:normAutofit fontScale="92500"/>
          </a:bodyPr>
          <a:lstStyle/>
          <a:p>
            <a:r>
              <a:rPr lang="en-US" dirty="0"/>
              <a:t>From the user stories, the following roles are important from the </a:t>
            </a:r>
            <a:r>
              <a:rPr lang="en-US" b="1" dirty="0"/>
              <a:t>use</a:t>
            </a:r>
            <a:r>
              <a:rPr lang="en-US" dirty="0"/>
              <a:t> of the algorithm register, which are marked in orange in the figure: </a:t>
            </a:r>
            <a:r>
              <a:rPr lang="en-US" dirty="0" err="1"/>
              <a:t>interestholder</a:t>
            </a:r>
            <a:r>
              <a:rPr lang="en-US" dirty="0"/>
              <a:t> (focus on citizen), representative of the people, process owner, executor (focus on enforcer) and algorithm holder.</a:t>
            </a:r>
          </a:p>
          <a:p>
            <a:r>
              <a:rPr lang="en-US" dirty="0"/>
              <a:t>The following roles are important from the point of view of the </a:t>
            </a:r>
            <a:r>
              <a:rPr lang="en-US" b="1" dirty="0"/>
              <a:t>content</a:t>
            </a:r>
            <a:r>
              <a:rPr lang="en-US" dirty="0"/>
              <a:t> of the algorithm register: software developer, algorithm supervisor and auditor, data source holder, process owner and service owner. For example, because they provide information about the algorithm.</a:t>
            </a:r>
          </a:p>
          <a:p>
            <a:r>
              <a:rPr lang="en-US" dirty="0"/>
              <a:t>The administrator is important because he decides about the </a:t>
            </a:r>
            <a:r>
              <a:rPr lang="en-US" b="1" dirty="0"/>
              <a:t>fundamental</a:t>
            </a:r>
            <a:r>
              <a:rPr lang="en-US" dirty="0"/>
              <a:t> on which the algorithm is used.</a:t>
            </a:r>
            <a:endParaRPr lang="nl-NL" dirty="0"/>
          </a:p>
        </p:txBody>
      </p:sp>
      <p:sp>
        <p:nvSpPr>
          <p:cNvPr id="4" name="Tijdelijke aanduiding voor voettekst 3">
            <a:extLst>
              <a:ext uri="{FF2B5EF4-FFF2-40B4-BE49-F238E27FC236}">
                <a16:creationId xmlns:a16="http://schemas.microsoft.com/office/drawing/2014/main" id="{15EC3EFB-7AFD-41E6-9FE7-D4CD9C0783BF}"/>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2556DDA4-9699-4CB4-8F21-C327C3B6D6FF}"/>
              </a:ext>
            </a:extLst>
          </p:cNvPr>
          <p:cNvSpPr>
            <a:spLocks noGrp="1"/>
          </p:cNvSpPr>
          <p:nvPr>
            <p:ph type="sldNum" sz="quarter" idx="12"/>
          </p:nvPr>
        </p:nvSpPr>
        <p:spPr/>
        <p:txBody>
          <a:bodyPr/>
          <a:lstStyle/>
          <a:p>
            <a:pPr algn="r"/>
            <a:fld id="{52CD5E70-B072-4ABF-98D2-981DEBBF7F7D}" type="slidenum">
              <a:rPr lang="nl-NL" smtClean="0"/>
              <a:pPr algn="r"/>
              <a:t>1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9786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p:txBody>
          <a:bodyPr>
            <a:normAutofit/>
          </a:bodyPr>
          <a:lstStyle/>
          <a:p>
            <a:pPr>
              <a:lnSpc>
                <a:spcPct val="90000"/>
              </a:lnSpc>
            </a:pPr>
            <a:r>
              <a:rPr lang="nl-NL" sz="2700" dirty="0" err="1"/>
              <a:t>Roles</a:t>
            </a:r>
            <a:r>
              <a:rPr lang="nl-NL" sz="2700" dirty="0"/>
              <a:t> </a:t>
            </a:r>
            <a:r>
              <a:rPr lang="nl-NL" sz="2700" dirty="0" err="1"/>
              <a:t>and</a:t>
            </a:r>
            <a:r>
              <a:rPr lang="nl-NL" sz="2700" dirty="0"/>
              <a:t> actors</a:t>
            </a:r>
          </a:p>
        </p:txBody>
      </p:sp>
      <p:sp>
        <p:nvSpPr>
          <p:cNvPr id="5" name="Tijdelijke aanduiding voor inhoud 4">
            <a:extLst>
              <a:ext uri="{FF2B5EF4-FFF2-40B4-BE49-F238E27FC236}">
                <a16:creationId xmlns:a16="http://schemas.microsoft.com/office/drawing/2014/main" id="{B49515C9-2FFE-4347-A9A2-667222243B45}"/>
              </a:ext>
            </a:extLst>
          </p:cNvPr>
          <p:cNvSpPr>
            <a:spLocks noGrp="1"/>
          </p:cNvSpPr>
          <p:nvPr>
            <p:ph idx="1"/>
          </p:nvPr>
        </p:nvSpPr>
        <p:spPr>
          <a:xfrm>
            <a:off x="7023207" y="1313969"/>
            <a:ext cx="1959428" cy="3423506"/>
          </a:xfrm>
        </p:spPr>
        <p:txBody>
          <a:bodyPr>
            <a:noAutofit/>
          </a:bodyPr>
          <a:lstStyle/>
          <a:p>
            <a:r>
              <a:rPr lang="en-US" sz="830" dirty="0"/>
              <a:t>The roles in scope are colored orange.</a:t>
            </a:r>
          </a:p>
          <a:p>
            <a:r>
              <a:rPr lang="en-US" sz="830" dirty="0"/>
              <a:t>A distinction is made between the role responsible for applying the algorithm in the process and the role responsible for developing the algorithm. The process manager is also the holder of the algorithm. This means that the roles of process owner and algorithm holder are in scope.</a:t>
            </a:r>
          </a:p>
          <a:p>
            <a:r>
              <a:rPr lang="en-US" sz="830" dirty="0"/>
              <a:t>The registration does not describe the (technical) operation of the algorithm itself, so the role of the algorithm developer/administrator is out of scope.</a:t>
            </a:r>
            <a:endParaRPr lang="nl-NL" sz="830" dirty="0"/>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p:txBody>
          <a:bodyPr anchor="t">
            <a:normAutofit/>
          </a:bodyPr>
          <a:lstStyle/>
          <a:p>
            <a:pPr algn="r">
              <a:spcAft>
                <a:spcPts val="600"/>
              </a:spcAft>
            </a:pPr>
            <a:fld id="{52CD5E70-B072-4ABF-98D2-981DEBBF7F7D}" type="slidenum">
              <a:rPr lang="nl-NL" smtClean="0"/>
              <a:pPr algn="r">
                <a:spcAft>
                  <a:spcPts val="600"/>
                </a:spcAft>
              </a:pPr>
              <a:t>16</a:t>
            </a:fld>
            <a:endParaRPr lang="nl-NL"/>
          </a:p>
        </p:txBody>
      </p:sp>
      <p:pic>
        <p:nvPicPr>
          <p:cNvPr id="8" name="Afbeelding 7">
            <a:extLst>
              <a:ext uri="{FF2B5EF4-FFF2-40B4-BE49-F238E27FC236}">
                <a16:creationId xmlns:a16="http://schemas.microsoft.com/office/drawing/2014/main" id="{B95FE0CA-3439-4E91-8033-6C50747E76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75" y="1313969"/>
            <a:ext cx="6329485" cy="3357923"/>
          </a:xfrm>
          <a:prstGeom prst="rect">
            <a:avLst/>
          </a:prstGeom>
        </p:spPr>
      </p:pic>
    </p:spTree>
    <p:extLst>
      <p:ext uri="{BB962C8B-B14F-4D97-AF65-F5344CB8AC3E}">
        <p14:creationId xmlns:p14="http://schemas.microsoft.com/office/powerpoint/2010/main" val="2618906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8A09D3-970D-ECB0-DEB3-69B36139AEBC}"/>
              </a:ext>
            </a:extLst>
          </p:cNvPr>
          <p:cNvSpPr>
            <a:spLocks noGrp="1"/>
          </p:cNvSpPr>
          <p:nvPr>
            <p:ph type="title"/>
          </p:nvPr>
        </p:nvSpPr>
        <p:spPr/>
        <p:txBody>
          <a:bodyPr/>
          <a:lstStyle/>
          <a:p>
            <a:r>
              <a:rPr lang="nl-NL" dirty="0" err="1"/>
              <a:t>Roles</a:t>
            </a:r>
            <a:r>
              <a:rPr lang="nl-NL" dirty="0"/>
              <a:t> in scope</a:t>
            </a:r>
          </a:p>
        </p:txBody>
      </p:sp>
      <p:sp>
        <p:nvSpPr>
          <p:cNvPr id="4" name="Tijdelijke aanduiding voor voettekst 3">
            <a:extLst>
              <a:ext uri="{FF2B5EF4-FFF2-40B4-BE49-F238E27FC236}">
                <a16:creationId xmlns:a16="http://schemas.microsoft.com/office/drawing/2014/main" id="{6709F52D-B02B-A29A-D22F-6C771E32BDB0}"/>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5B76FFEE-BEA0-247A-4044-49A8423CD972}"/>
              </a:ext>
            </a:extLst>
          </p:cNvPr>
          <p:cNvSpPr>
            <a:spLocks noGrp="1"/>
          </p:cNvSpPr>
          <p:nvPr>
            <p:ph type="sldNum" sz="quarter" idx="12"/>
          </p:nvPr>
        </p:nvSpPr>
        <p:spPr/>
        <p:txBody>
          <a:bodyPr/>
          <a:lstStyle/>
          <a:p>
            <a:pPr algn="r"/>
            <a:fld id="{52CD5E70-B072-4ABF-98D2-981DEBBF7F7D}" type="slidenum">
              <a:rPr lang="nl-NL" smtClean="0"/>
              <a:pPr algn="r"/>
              <a:t>17</a:t>
            </a:fld>
            <a:endParaRPr lang="nl-NL">
              <a:latin typeface="Calibri" panose="020F0502020204030204" pitchFamily="34" charset="0"/>
              <a:cs typeface="Calibri" panose="020F0502020204030204" pitchFamily="34" charset="0"/>
            </a:endParaRPr>
          </a:p>
        </p:txBody>
      </p:sp>
      <p:pic>
        <p:nvPicPr>
          <p:cNvPr id="6" name="Afbeelding 5">
            <a:extLst>
              <a:ext uri="{FF2B5EF4-FFF2-40B4-BE49-F238E27FC236}">
                <a16:creationId xmlns:a16="http://schemas.microsoft.com/office/drawing/2014/main" id="{58F982B8-2CB0-BC6F-AEF7-511BA9414B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9159" y="471487"/>
            <a:ext cx="5105400" cy="4200525"/>
          </a:xfrm>
          <a:prstGeom prst="rect">
            <a:avLst/>
          </a:prstGeom>
        </p:spPr>
      </p:pic>
    </p:spTree>
    <p:extLst>
      <p:ext uri="{BB962C8B-B14F-4D97-AF65-F5344CB8AC3E}">
        <p14:creationId xmlns:p14="http://schemas.microsoft.com/office/powerpoint/2010/main" val="2836421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056B63-9CD9-42E5-AB19-162E67F6CE04}"/>
              </a:ext>
            </a:extLst>
          </p:cNvPr>
          <p:cNvSpPr>
            <a:spLocks noGrp="1"/>
          </p:cNvSpPr>
          <p:nvPr>
            <p:ph type="title"/>
          </p:nvPr>
        </p:nvSpPr>
        <p:spPr/>
        <p:txBody>
          <a:bodyPr/>
          <a:lstStyle/>
          <a:p>
            <a:r>
              <a:rPr lang="en-US" dirty="0"/>
              <a:t>Roles in decision-making and execution</a:t>
            </a:r>
            <a:endParaRPr lang="nl-NL" dirty="0"/>
          </a:p>
        </p:txBody>
      </p:sp>
      <p:sp>
        <p:nvSpPr>
          <p:cNvPr id="3" name="Tijdelijke aanduiding voor inhoud 2">
            <a:extLst>
              <a:ext uri="{FF2B5EF4-FFF2-40B4-BE49-F238E27FC236}">
                <a16:creationId xmlns:a16="http://schemas.microsoft.com/office/drawing/2014/main" id="{2F444D9E-FF65-4DCB-B619-62C87039C077}"/>
              </a:ext>
            </a:extLst>
          </p:cNvPr>
          <p:cNvSpPr>
            <a:spLocks noGrp="1"/>
          </p:cNvSpPr>
          <p:nvPr>
            <p:ph idx="1"/>
          </p:nvPr>
        </p:nvSpPr>
        <p:spPr>
          <a:xfrm>
            <a:off x="4771785" y="1428750"/>
            <a:ext cx="3637203" cy="3139679"/>
          </a:xfrm>
        </p:spPr>
        <p:txBody>
          <a:bodyPr>
            <a:normAutofit fontScale="77500" lnSpcReduction="20000"/>
          </a:bodyPr>
          <a:lstStyle/>
          <a:p>
            <a:r>
              <a:rPr lang="en-US" dirty="0"/>
              <a:t>In the role of competent authority, an administrative body takes decisions for the tasks assigned to it. The execution of the tasks may be assigned to an executive organization. An algorithm is applied in the execution of the tasks.</a:t>
            </a:r>
          </a:p>
          <a:p>
            <a:r>
              <a:rPr lang="en-US" dirty="0"/>
              <a:t>In that situation, the administrative body should instruct the executive organization to register the application of the algorithm.</a:t>
            </a:r>
          </a:p>
          <a:p>
            <a:r>
              <a:rPr lang="en-US" dirty="0"/>
              <a:t>It may be the case that the administrative body grants the executive organization the mandate to take certain decisions itself on behalf of the competent authority.</a:t>
            </a:r>
            <a:endParaRPr lang="nl-NL" dirty="0"/>
          </a:p>
        </p:txBody>
      </p:sp>
      <p:sp>
        <p:nvSpPr>
          <p:cNvPr id="4" name="Tijdelijke aanduiding voor voettekst 3">
            <a:extLst>
              <a:ext uri="{FF2B5EF4-FFF2-40B4-BE49-F238E27FC236}">
                <a16:creationId xmlns:a16="http://schemas.microsoft.com/office/drawing/2014/main" id="{0EFBB232-BA93-4626-B24E-E7CE4AF5B639}"/>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10E83C4C-004B-4EB2-A902-A293E938079D}"/>
              </a:ext>
            </a:extLst>
          </p:cNvPr>
          <p:cNvSpPr>
            <a:spLocks noGrp="1"/>
          </p:cNvSpPr>
          <p:nvPr>
            <p:ph type="sldNum" sz="quarter" idx="12"/>
          </p:nvPr>
        </p:nvSpPr>
        <p:spPr/>
        <p:txBody>
          <a:bodyPr/>
          <a:lstStyle/>
          <a:p>
            <a:pPr algn="r"/>
            <a:fld id="{52CD5E70-B072-4ABF-98D2-981DEBBF7F7D}" type="slidenum">
              <a:rPr lang="nl-NL" smtClean="0"/>
              <a:pPr algn="r"/>
              <a:t>18</a:t>
            </a:fld>
            <a:endParaRPr lang="nl-NL">
              <a:latin typeface="Calibri" panose="020F0502020204030204" pitchFamily="34" charset="0"/>
              <a:cs typeface="Calibri" panose="020F0502020204030204" pitchFamily="34" charset="0"/>
            </a:endParaRPr>
          </a:p>
        </p:txBody>
      </p:sp>
      <p:pic>
        <p:nvPicPr>
          <p:cNvPr id="8" name="Afbeelding 7">
            <a:extLst>
              <a:ext uri="{FF2B5EF4-FFF2-40B4-BE49-F238E27FC236}">
                <a16:creationId xmlns:a16="http://schemas.microsoft.com/office/drawing/2014/main" id="{A5934D89-C7E9-40D7-8F81-4F4896B28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4069" y="1384101"/>
            <a:ext cx="3686175" cy="3228975"/>
          </a:xfrm>
          <a:prstGeom prst="rect">
            <a:avLst/>
          </a:prstGeom>
        </p:spPr>
      </p:pic>
    </p:spTree>
    <p:extLst>
      <p:ext uri="{BB962C8B-B14F-4D97-AF65-F5344CB8AC3E}">
        <p14:creationId xmlns:p14="http://schemas.microsoft.com/office/powerpoint/2010/main" val="2376113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4A7D0E74-ED2F-40F1-AC19-B7534DC6379E}"/>
              </a:ext>
            </a:extLst>
          </p:cNvPr>
          <p:cNvSpPr>
            <a:spLocks noGrp="1"/>
          </p:cNvSpPr>
          <p:nvPr>
            <p:ph idx="1"/>
          </p:nvPr>
        </p:nvSpPr>
        <p:spPr>
          <a:xfrm>
            <a:off x="571499" y="1428750"/>
            <a:ext cx="3516407" cy="2804400"/>
          </a:xfrm>
        </p:spPr>
        <p:txBody>
          <a:bodyPr>
            <a:normAutofit/>
          </a:bodyPr>
          <a:lstStyle/>
          <a:p>
            <a:pPr marL="0" indent="0">
              <a:buNone/>
            </a:pPr>
            <a:r>
              <a:rPr lang="nl-NL" sz="1000" u="sng" dirty="0" err="1"/>
              <a:t>Verrsionmanagement</a:t>
            </a:r>
            <a:r>
              <a:rPr lang="nl-NL" sz="1000" u="sng" dirty="0"/>
              <a:t> / </a:t>
            </a:r>
            <a:r>
              <a:rPr lang="nl-NL" sz="1000" u="sng" dirty="0" err="1"/>
              <a:t>changehistory</a:t>
            </a:r>
            <a:endParaRPr lang="nl-NL" sz="1000" u="sng" dirty="0"/>
          </a:p>
          <a:p>
            <a:pPr marL="0" indent="0">
              <a:buNone/>
            </a:pPr>
            <a:r>
              <a:rPr lang="nl-NL" sz="1000" dirty="0"/>
              <a:t>Version 0.0.1: first </a:t>
            </a:r>
            <a:r>
              <a:rPr lang="nl-NL" sz="1000" dirty="0" err="1"/>
              <a:t>exploration</a:t>
            </a:r>
            <a:r>
              <a:rPr lang="nl-NL" sz="1000" dirty="0"/>
              <a:t>, </a:t>
            </a:r>
            <a:r>
              <a:rPr lang="nl-NL" sz="1000" dirty="0" err="1"/>
              <a:t>January</a:t>
            </a:r>
            <a:r>
              <a:rPr lang="nl-NL" sz="1000" dirty="0"/>
              <a:t> 25, 2021</a:t>
            </a:r>
          </a:p>
          <a:p>
            <a:pPr marL="0" indent="0">
              <a:buNone/>
            </a:pPr>
            <a:r>
              <a:rPr lang="nl-NL" sz="1000" dirty="0"/>
              <a:t>Version 0.0.2: </a:t>
            </a:r>
            <a:r>
              <a:rPr lang="nl-NL" sz="1000" dirty="0" err="1"/>
              <a:t>addition</a:t>
            </a:r>
            <a:r>
              <a:rPr lang="nl-NL" sz="1000" dirty="0"/>
              <a:t> variant case, </a:t>
            </a:r>
            <a:r>
              <a:rPr lang="nl-NL" sz="1000" dirty="0" err="1"/>
              <a:t>January</a:t>
            </a:r>
            <a:r>
              <a:rPr lang="nl-NL" sz="1000" dirty="0"/>
              <a:t> 27, 2021</a:t>
            </a:r>
          </a:p>
          <a:p>
            <a:pPr marL="0" indent="0">
              <a:buNone/>
            </a:pPr>
            <a:r>
              <a:rPr lang="nl-NL" sz="1000" dirty="0"/>
              <a:t>Version 0.0.3: </a:t>
            </a:r>
            <a:r>
              <a:rPr lang="nl-NL" sz="1000" dirty="0" err="1"/>
              <a:t>addition</a:t>
            </a:r>
            <a:r>
              <a:rPr lang="nl-NL" sz="1000" dirty="0"/>
              <a:t> of extra </a:t>
            </a:r>
            <a:r>
              <a:rPr lang="nl-NL" sz="1000" dirty="0" err="1"/>
              <a:t>roles</a:t>
            </a:r>
            <a:r>
              <a:rPr lang="nl-NL" sz="1000" dirty="0"/>
              <a:t>, </a:t>
            </a:r>
            <a:r>
              <a:rPr lang="nl-NL" sz="1000" dirty="0" err="1"/>
              <a:t>January</a:t>
            </a:r>
            <a:r>
              <a:rPr lang="nl-NL" sz="1000" dirty="0"/>
              <a:t> 28, 2021</a:t>
            </a:r>
          </a:p>
          <a:p>
            <a:pPr marL="0" indent="0">
              <a:buNone/>
            </a:pPr>
            <a:r>
              <a:rPr lang="nl-NL" sz="1000" dirty="0"/>
              <a:t>Version 0.0.4: put focus, </a:t>
            </a:r>
            <a:r>
              <a:rPr lang="nl-NL" sz="1000" dirty="0" err="1"/>
              <a:t>July</a:t>
            </a:r>
            <a:r>
              <a:rPr lang="nl-NL" sz="1000" dirty="0"/>
              <a:t> 5, 2021</a:t>
            </a:r>
          </a:p>
          <a:p>
            <a:pPr marL="0" indent="0">
              <a:buNone/>
            </a:pPr>
            <a:r>
              <a:rPr lang="nl-NL" sz="1000" dirty="0"/>
              <a:t>Version 0.0.5: update </a:t>
            </a:r>
            <a:r>
              <a:rPr lang="nl-NL" sz="1000" dirty="0" err="1"/>
              <a:t>distribution</a:t>
            </a:r>
            <a:r>
              <a:rPr lang="nl-NL" sz="1000" dirty="0"/>
              <a:t> list, </a:t>
            </a:r>
            <a:r>
              <a:rPr lang="nl-NL" sz="1000" dirty="0" err="1"/>
              <a:t>July</a:t>
            </a:r>
            <a:r>
              <a:rPr lang="nl-NL" sz="1000" dirty="0"/>
              <a:t> 8, 2021</a:t>
            </a:r>
          </a:p>
          <a:p>
            <a:pPr marL="0" indent="0">
              <a:buNone/>
            </a:pPr>
            <a:r>
              <a:rPr lang="nl-NL" sz="1000" dirty="0"/>
              <a:t>Version 0.0.6: </a:t>
            </a:r>
            <a:r>
              <a:rPr lang="nl-NL" sz="1000" dirty="0" err="1"/>
              <a:t>addition</a:t>
            </a:r>
            <a:r>
              <a:rPr lang="nl-NL" sz="1000" dirty="0"/>
              <a:t> of software </a:t>
            </a:r>
            <a:r>
              <a:rPr lang="nl-NL" sz="1000" dirty="0" err="1"/>
              <a:t>architecture</a:t>
            </a:r>
            <a:r>
              <a:rPr lang="nl-NL" sz="1000" dirty="0"/>
              <a:t>, </a:t>
            </a:r>
            <a:r>
              <a:rPr lang="nl-NL" sz="1000" dirty="0" err="1"/>
              <a:t>July</a:t>
            </a:r>
            <a:r>
              <a:rPr lang="nl-NL" sz="1000" dirty="0"/>
              <a:t> 15, 2021</a:t>
            </a:r>
          </a:p>
          <a:p>
            <a:pPr marL="0" indent="0">
              <a:buNone/>
            </a:pPr>
            <a:r>
              <a:rPr lang="nl-NL" sz="1000" dirty="0"/>
              <a:t>Version 0.1.0: update </a:t>
            </a:r>
            <a:r>
              <a:rPr lang="nl-NL" sz="1000" dirty="0" err="1"/>
              <a:t>technical</a:t>
            </a:r>
            <a:r>
              <a:rPr lang="nl-NL" sz="1000" dirty="0"/>
              <a:t> </a:t>
            </a:r>
            <a:r>
              <a:rPr lang="nl-NL" sz="1000" dirty="0" err="1"/>
              <a:t>session</a:t>
            </a:r>
            <a:r>
              <a:rPr lang="nl-NL" sz="1000" dirty="0"/>
              <a:t> #01, December 13, 2021</a:t>
            </a:r>
          </a:p>
          <a:p>
            <a:pPr marL="0" indent="0">
              <a:buNone/>
            </a:pPr>
            <a:r>
              <a:rPr lang="nl-NL" sz="1000" dirty="0">
                <a:highlight>
                  <a:srgbClr val="FFFF00"/>
                </a:highlight>
              </a:rPr>
              <a:t>Version 0.2.0: update </a:t>
            </a:r>
            <a:r>
              <a:rPr lang="nl-NL" sz="1000" dirty="0" err="1">
                <a:highlight>
                  <a:srgbClr val="FFFF00"/>
                </a:highlight>
              </a:rPr>
              <a:t>standards</a:t>
            </a:r>
            <a:r>
              <a:rPr lang="nl-NL" sz="1000" dirty="0">
                <a:highlight>
                  <a:srgbClr val="FFFF00"/>
                </a:highlight>
              </a:rPr>
              <a:t> </a:t>
            </a:r>
            <a:r>
              <a:rPr lang="nl-NL" sz="1000" dirty="0" err="1">
                <a:highlight>
                  <a:srgbClr val="FFFF00"/>
                </a:highlight>
              </a:rPr>
              <a:t>and</a:t>
            </a:r>
            <a:r>
              <a:rPr lang="nl-NL" sz="1000" dirty="0">
                <a:highlight>
                  <a:srgbClr val="FFFF00"/>
                </a:highlight>
              </a:rPr>
              <a:t> tekst, </a:t>
            </a:r>
            <a:r>
              <a:rPr lang="nl-NL" sz="1000">
                <a:highlight>
                  <a:srgbClr val="FFFF00"/>
                </a:highlight>
              </a:rPr>
              <a:t>November 4, </a:t>
            </a:r>
            <a:r>
              <a:rPr lang="nl-NL" sz="1000" dirty="0">
                <a:highlight>
                  <a:srgbClr val="FFFF00"/>
                </a:highlight>
              </a:rPr>
              <a:t>2022</a:t>
            </a:r>
          </a:p>
          <a:p>
            <a:pPr marL="0" indent="0">
              <a:buNone/>
            </a:pPr>
            <a:endParaRPr lang="nl-NL" sz="1000" dirty="0"/>
          </a:p>
        </p:txBody>
      </p:sp>
      <p:sp>
        <p:nvSpPr>
          <p:cNvPr id="5" name="Tijdelijke aanduiding voor inhoud 4">
            <a:extLst>
              <a:ext uri="{FF2B5EF4-FFF2-40B4-BE49-F238E27FC236}">
                <a16:creationId xmlns:a16="http://schemas.microsoft.com/office/drawing/2014/main" id="{C395AE4E-A7D8-464A-9B23-4747629AD39C}"/>
              </a:ext>
            </a:extLst>
          </p:cNvPr>
          <p:cNvSpPr>
            <a:spLocks noGrp="1"/>
          </p:cNvSpPr>
          <p:nvPr>
            <p:ph idx="15"/>
          </p:nvPr>
        </p:nvSpPr>
        <p:spPr>
          <a:xfrm>
            <a:off x="4288971" y="1428750"/>
            <a:ext cx="4437500" cy="3127882"/>
          </a:xfrm>
        </p:spPr>
        <p:txBody>
          <a:bodyPr>
            <a:noAutofit/>
          </a:bodyPr>
          <a:lstStyle/>
          <a:p>
            <a:pPr marL="0" indent="0">
              <a:buNone/>
            </a:pPr>
            <a:r>
              <a:rPr lang="nl-NL" sz="1000" u="sng" dirty="0" err="1"/>
              <a:t>Distributiionlist</a:t>
            </a:r>
            <a:endParaRPr lang="nl-NL" sz="1000" u="sng" dirty="0"/>
          </a:p>
          <a:p>
            <a:r>
              <a:rPr lang="nl-NL" sz="1000" dirty="0"/>
              <a:t>André Batenburg, information </a:t>
            </a:r>
            <a:r>
              <a:rPr lang="nl-NL" sz="1000" dirty="0" err="1"/>
              <a:t>architecture</a:t>
            </a:r>
            <a:endParaRPr lang="nl-NL" sz="1000" dirty="0"/>
          </a:p>
          <a:p>
            <a:r>
              <a:rPr lang="nl-NL" sz="1000" dirty="0"/>
              <a:t>Anne Schoenmakers, </a:t>
            </a:r>
            <a:r>
              <a:rPr lang="en-US" sz="1000" dirty="0"/>
              <a:t>policy officer Digital Transformation province of North Brabant</a:t>
            </a:r>
          </a:p>
          <a:p>
            <a:r>
              <a:rPr lang="nl-NL" sz="1000" dirty="0"/>
              <a:t>Bernard Vuijk, </a:t>
            </a:r>
            <a:r>
              <a:rPr lang="en-US" sz="1000" dirty="0"/>
              <a:t>project manager projects Environmental law</a:t>
            </a:r>
          </a:p>
          <a:p>
            <a:r>
              <a:rPr lang="nl-NL" sz="1000" dirty="0"/>
              <a:t>Constantijn Hagenaar, business </a:t>
            </a:r>
            <a:r>
              <a:rPr lang="nl-NL" sz="1000" dirty="0" err="1"/>
              <a:t>analyst</a:t>
            </a:r>
            <a:endParaRPr lang="nl-NL" sz="1000" dirty="0"/>
          </a:p>
          <a:p>
            <a:r>
              <a:rPr lang="nl-NL" sz="1000" dirty="0"/>
              <a:t>Eric Herman, Foundation </a:t>
            </a:r>
            <a:r>
              <a:rPr lang="nl-NL" sz="1000" dirty="0" err="1"/>
              <a:t>for</a:t>
            </a:r>
            <a:r>
              <a:rPr lang="nl-NL" sz="1000" dirty="0"/>
              <a:t> Public Code</a:t>
            </a:r>
          </a:p>
          <a:p>
            <a:r>
              <a:rPr lang="nl-NL" sz="1000" dirty="0"/>
              <a:t>Erik Verhaar, </a:t>
            </a:r>
            <a:r>
              <a:rPr lang="nl-NL" sz="1000" dirty="0" err="1"/>
              <a:t>functional</a:t>
            </a:r>
            <a:r>
              <a:rPr lang="nl-NL" sz="1000" dirty="0"/>
              <a:t> manager team Environment policy</a:t>
            </a:r>
          </a:p>
          <a:p>
            <a:r>
              <a:rPr lang="nl-NL" sz="1000" dirty="0"/>
              <a:t>Ivonne Jansen – Dings, </a:t>
            </a:r>
            <a:r>
              <a:rPr lang="en-US" sz="1000" dirty="0"/>
              <a:t>strategic advisor technology and society</a:t>
            </a:r>
            <a:endParaRPr lang="nl-NL" sz="1000" dirty="0"/>
          </a:p>
          <a:p>
            <a:r>
              <a:rPr lang="nl-NL" sz="1000" dirty="0"/>
              <a:t>Jan </a:t>
            </a:r>
            <a:r>
              <a:rPr lang="nl-NL" sz="1000" dirty="0" err="1"/>
              <a:t>Ainali</a:t>
            </a:r>
            <a:r>
              <a:rPr lang="nl-NL" sz="1000" dirty="0"/>
              <a:t>, Foundation </a:t>
            </a:r>
            <a:r>
              <a:rPr lang="nl-NL" sz="1000" dirty="0" err="1"/>
              <a:t>for</a:t>
            </a:r>
            <a:r>
              <a:rPr lang="nl-NL" sz="1000" dirty="0"/>
              <a:t> Public Code</a:t>
            </a:r>
          </a:p>
          <a:p>
            <a:r>
              <a:rPr lang="nl-NL" sz="1000" dirty="0"/>
              <a:t>Johan Groenen, </a:t>
            </a:r>
            <a:r>
              <a:rPr lang="nl-NL" sz="1000" dirty="0" err="1"/>
              <a:t>Tiltshift</a:t>
            </a:r>
            <a:endParaRPr lang="nl-NL" sz="1000" dirty="0"/>
          </a:p>
          <a:p>
            <a:r>
              <a:rPr lang="nl-NL" sz="1000" dirty="0"/>
              <a:t>Maarten </a:t>
            </a:r>
            <a:r>
              <a:rPr lang="nl-NL" sz="1000" dirty="0" err="1"/>
              <a:t>Geraets</a:t>
            </a:r>
            <a:r>
              <a:rPr lang="nl-NL" sz="1000" dirty="0"/>
              <a:t>, </a:t>
            </a:r>
            <a:r>
              <a:rPr lang="nl-NL" sz="1000" dirty="0" err="1"/>
              <a:t>Tiltshift</a:t>
            </a:r>
            <a:endParaRPr lang="nl-NL" sz="1000" dirty="0"/>
          </a:p>
          <a:p>
            <a:r>
              <a:rPr lang="nl-NL" sz="1000" dirty="0"/>
              <a:t>Marten Terpstra, </a:t>
            </a:r>
            <a:r>
              <a:rPr lang="nl-NL" sz="1000" dirty="0" err="1"/>
              <a:t>productowner</a:t>
            </a:r>
            <a:r>
              <a:rPr lang="nl-NL" sz="1000" dirty="0"/>
              <a:t> </a:t>
            </a:r>
            <a:r>
              <a:rPr lang="nl-NL" sz="1000" dirty="0" err="1"/>
              <a:t>projects</a:t>
            </a:r>
            <a:r>
              <a:rPr lang="nl-NL" sz="1000" dirty="0"/>
              <a:t> team Environment policy</a:t>
            </a:r>
          </a:p>
        </p:txBody>
      </p:sp>
      <p:sp>
        <p:nvSpPr>
          <p:cNvPr id="2" name="Titel 1">
            <a:extLst>
              <a:ext uri="{FF2B5EF4-FFF2-40B4-BE49-F238E27FC236}">
                <a16:creationId xmlns:a16="http://schemas.microsoft.com/office/drawing/2014/main" id="{D7969EDB-EE8E-4BD6-B931-457A7A3E04AC}"/>
              </a:ext>
            </a:extLst>
          </p:cNvPr>
          <p:cNvSpPr>
            <a:spLocks noGrp="1"/>
          </p:cNvSpPr>
          <p:nvPr>
            <p:ph type="title"/>
          </p:nvPr>
        </p:nvSpPr>
        <p:spPr/>
        <p:txBody>
          <a:bodyPr/>
          <a:lstStyle/>
          <a:p>
            <a:r>
              <a:rPr lang="nl-NL" dirty="0" err="1"/>
              <a:t>Documenthistory</a:t>
            </a:r>
            <a:endParaRPr lang="nl-NL" dirty="0"/>
          </a:p>
        </p:txBody>
      </p:sp>
      <p:sp>
        <p:nvSpPr>
          <p:cNvPr id="6" name="Tijdelijke aanduiding voor voettekst 5">
            <a:extLst>
              <a:ext uri="{FF2B5EF4-FFF2-40B4-BE49-F238E27FC236}">
                <a16:creationId xmlns:a16="http://schemas.microsoft.com/office/drawing/2014/main" id="{9BDFB2CB-794E-46D0-8883-C663335CBA56}"/>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7" name="Tijdelijke aanduiding voor dianummer 6">
            <a:extLst>
              <a:ext uri="{FF2B5EF4-FFF2-40B4-BE49-F238E27FC236}">
                <a16:creationId xmlns:a16="http://schemas.microsoft.com/office/drawing/2014/main" id="{E5A881DB-A52E-4701-B477-618B83370F91}"/>
              </a:ext>
            </a:extLst>
          </p:cNvPr>
          <p:cNvSpPr>
            <a:spLocks noGrp="1"/>
          </p:cNvSpPr>
          <p:nvPr>
            <p:ph type="sldNum" sz="quarter" idx="14"/>
          </p:nvPr>
        </p:nvSpPr>
        <p:spPr/>
        <p:txBody>
          <a:bodyPr/>
          <a:lstStyle/>
          <a:p>
            <a:pPr algn="r"/>
            <a:fld id="{52CD5E70-B072-4ABF-98D2-981DEBBF7F7D}" type="slidenum">
              <a:rPr lang="nl-NL" smtClean="0"/>
              <a:pPr algn="r"/>
              <a:t>1</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27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9</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err="1"/>
              <a:t>This</a:t>
            </a:r>
            <a:r>
              <a:rPr lang="nl-NL" dirty="0"/>
              <a:t> </a:t>
            </a:r>
            <a:r>
              <a:rPr lang="nl-NL" dirty="0" err="1"/>
              <a:t>section</a:t>
            </a:r>
            <a:r>
              <a:rPr lang="nl-NL" dirty="0"/>
              <a:t> </a:t>
            </a:r>
            <a:r>
              <a:rPr lang="nl-NL" dirty="0" err="1"/>
              <a:t>describes</a:t>
            </a:r>
            <a:r>
              <a:rPr lang="nl-NL" dirty="0"/>
              <a:t> </a:t>
            </a:r>
            <a:r>
              <a:rPr lang="nl-NL" dirty="0" err="1"/>
              <a:t>the</a:t>
            </a:r>
            <a:r>
              <a:rPr lang="nl-NL" dirty="0"/>
              <a:t> </a:t>
            </a:r>
            <a:r>
              <a:rPr lang="nl-NL" dirty="0" err="1"/>
              <a:t>registrations</a:t>
            </a:r>
            <a:r>
              <a:rPr lang="nl-NL" dirty="0"/>
              <a:t>, </a:t>
            </a:r>
            <a:r>
              <a:rPr lang="nl-NL" dirty="0" err="1"/>
              <a:t>application</a:t>
            </a:r>
            <a:r>
              <a:rPr lang="nl-NL" dirty="0"/>
              <a:t> </a:t>
            </a:r>
            <a:r>
              <a:rPr lang="nl-NL" dirty="0" err="1"/>
              <a:t>functions</a:t>
            </a:r>
            <a:r>
              <a:rPr lang="nl-NL" dirty="0"/>
              <a:t> </a:t>
            </a:r>
            <a:r>
              <a:rPr lang="nl-NL" dirty="0" err="1"/>
              <a:t>and</a:t>
            </a:r>
            <a:r>
              <a:rPr lang="nl-NL" dirty="0"/>
              <a:t> </a:t>
            </a:r>
            <a:r>
              <a:rPr lang="nl-NL" dirty="0" err="1"/>
              <a:t>application</a:t>
            </a:r>
            <a:r>
              <a:rPr lang="nl-NL" dirty="0"/>
              <a:t> </a:t>
            </a:r>
            <a:r>
              <a:rPr lang="nl-NL" dirty="0" err="1"/>
              <a:t>components</a:t>
            </a:r>
            <a:r>
              <a:rPr lang="nl-NL" dirty="0"/>
              <a:t>.</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Information </a:t>
            </a:r>
            <a:r>
              <a:rPr lang="nl-NL" sz="2700" dirty="0" err="1"/>
              <a:t>architecture</a:t>
            </a:r>
            <a:endParaRPr lang="nl-NL" sz="2700" dirty="0"/>
          </a:p>
        </p:txBody>
      </p:sp>
      <p:pic>
        <p:nvPicPr>
          <p:cNvPr id="6" name="Afbeelding 5">
            <a:extLst>
              <a:ext uri="{FF2B5EF4-FFF2-40B4-BE49-F238E27FC236}">
                <a16:creationId xmlns:a16="http://schemas.microsoft.com/office/drawing/2014/main" id="{2D1FD0E3-E4DF-4473-9F54-2B5E67651C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0400" y="1947580"/>
            <a:ext cx="4886325" cy="2733675"/>
          </a:xfrm>
          <a:prstGeom prst="rect">
            <a:avLst/>
          </a:prstGeom>
        </p:spPr>
      </p:pic>
    </p:spTree>
    <p:extLst>
      <p:ext uri="{BB962C8B-B14F-4D97-AF65-F5344CB8AC3E}">
        <p14:creationId xmlns:p14="http://schemas.microsoft.com/office/powerpoint/2010/main" val="2798211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028E98-8EFA-422D-9D52-104888A41AB4}"/>
              </a:ext>
            </a:extLst>
          </p:cNvPr>
          <p:cNvSpPr>
            <a:spLocks noGrp="1"/>
          </p:cNvSpPr>
          <p:nvPr>
            <p:ph type="title"/>
          </p:nvPr>
        </p:nvSpPr>
        <p:spPr/>
        <p:txBody>
          <a:bodyPr/>
          <a:lstStyle/>
          <a:p>
            <a:r>
              <a:rPr lang="nl-NL" dirty="0" err="1"/>
              <a:t>Registrations</a:t>
            </a:r>
            <a:r>
              <a:rPr lang="nl-NL" dirty="0"/>
              <a:t> </a:t>
            </a:r>
            <a:r>
              <a:rPr lang="nl-NL" dirty="0" err="1"/>
              <a:t>and</a:t>
            </a:r>
            <a:r>
              <a:rPr lang="nl-NL" dirty="0"/>
              <a:t> </a:t>
            </a:r>
            <a:r>
              <a:rPr lang="nl-NL" dirty="0" err="1"/>
              <a:t>applications</a:t>
            </a:r>
            <a:endParaRPr lang="nl-NL" dirty="0"/>
          </a:p>
        </p:txBody>
      </p:sp>
      <p:sp>
        <p:nvSpPr>
          <p:cNvPr id="3" name="Tijdelijke aanduiding voor inhoud 2">
            <a:extLst>
              <a:ext uri="{FF2B5EF4-FFF2-40B4-BE49-F238E27FC236}">
                <a16:creationId xmlns:a16="http://schemas.microsoft.com/office/drawing/2014/main" id="{C20D9B0B-D5CA-4A31-8CDF-FC0F5316CF08}"/>
              </a:ext>
            </a:extLst>
          </p:cNvPr>
          <p:cNvSpPr>
            <a:spLocks noGrp="1"/>
          </p:cNvSpPr>
          <p:nvPr>
            <p:ph idx="1"/>
          </p:nvPr>
        </p:nvSpPr>
        <p:spPr>
          <a:xfrm>
            <a:off x="683880" y="1428750"/>
            <a:ext cx="7725108" cy="3139679"/>
          </a:xfrm>
        </p:spPr>
        <p:txBody>
          <a:bodyPr>
            <a:normAutofit fontScale="70000" lnSpcReduction="20000"/>
          </a:bodyPr>
          <a:lstStyle/>
          <a:p>
            <a:r>
              <a:rPr lang="en-US" dirty="0"/>
              <a:t>Here a fundamental choice has been made to exclude catalogs about applications and services. Information about the process is recorded in the algorithm register. After all, this is necessary to make transparent what role the algorithm plays in the process. The data catalog is relevant because you want to get information about the data used in the decision making. A government body that does not have a data catalog must be able to record the information in the algorithm catalog.</a:t>
            </a:r>
          </a:p>
          <a:p>
            <a:r>
              <a:rPr lang="en-US" dirty="0"/>
              <a:t>A second fundamental choice is not to involve information about specific decisions. That would require information that is included in process systems. However, those process systems are organization-specific. The scope of the algorithm register is the metadata about the algorithm, not the data used by an algorithm in a specific decision making!</a:t>
            </a:r>
          </a:p>
          <a:p>
            <a:r>
              <a:rPr lang="en-US" dirty="0"/>
              <a:t>An interested party can request this information by submitting an objection or lodging an appeal. An existing process can be used for this. Objection/appeal must be about the (intended) </a:t>
            </a:r>
            <a:r>
              <a:rPr lang="en-US" u="sng" dirty="0"/>
              <a:t>decision</a:t>
            </a:r>
            <a:r>
              <a:rPr lang="en-US" dirty="0"/>
              <a:t> (substantive or about the role of the algorithm), not about the algorithm itself.</a:t>
            </a:r>
          </a:p>
          <a:p>
            <a:r>
              <a:rPr lang="en-US" dirty="0"/>
              <a:t>Choice is to offer the possibility to publish the information about algorithms on the corporate website of the government body and also to offer the possibility to publish this information from all government bodies in a nationwide environment. The latter may in the future be content published on government.nl via PLOOI or on an international site as part of </a:t>
            </a:r>
            <a:r>
              <a:rPr lang="en-US" dirty="0">
                <a:hlinkClick r:id="rId2"/>
              </a:rPr>
              <a:t>www.data.europa.eu</a:t>
            </a:r>
            <a:r>
              <a:rPr lang="en-US" dirty="0"/>
              <a:t>.</a:t>
            </a:r>
          </a:p>
        </p:txBody>
      </p:sp>
      <p:sp>
        <p:nvSpPr>
          <p:cNvPr id="4" name="Tijdelijke aanduiding voor voettekst 3">
            <a:extLst>
              <a:ext uri="{FF2B5EF4-FFF2-40B4-BE49-F238E27FC236}">
                <a16:creationId xmlns:a16="http://schemas.microsoft.com/office/drawing/2014/main" id="{204B5B0D-3A3C-4530-9DBD-37D080215C48}"/>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C2C819FF-5200-4033-B9C5-DE40E532D150}"/>
              </a:ext>
            </a:extLst>
          </p:cNvPr>
          <p:cNvSpPr>
            <a:spLocks noGrp="1"/>
          </p:cNvSpPr>
          <p:nvPr>
            <p:ph type="sldNum" sz="quarter" idx="12"/>
          </p:nvPr>
        </p:nvSpPr>
        <p:spPr/>
        <p:txBody>
          <a:bodyPr/>
          <a:lstStyle/>
          <a:p>
            <a:pPr algn="r"/>
            <a:fld id="{52CD5E70-B072-4ABF-98D2-981DEBBF7F7D}" type="slidenum">
              <a:rPr lang="nl-NL" smtClean="0"/>
              <a:pPr algn="r"/>
              <a:t>2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5462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t>Registrations</a:t>
            </a:r>
            <a:r>
              <a:rPr lang="nl-NL" sz="2700" dirty="0"/>
              <a:t> </a:t>
            </a:r>
            <a:r>
              <a:rPr lang="nl-NL" sz="2700" dirty="0" err="1"/>
              <a:t>and</a:t>
            </a:r>
            <a:r>
              <a:rPr lang="nl-NL" sz="2700" dirty="0"/>
              <a:t> </a:t>
            </a:r>
            <a:r>
              <a:rPr lang="nl-NL" sz="2700" dirty="0" err="1"/>
              <a:t>applications</a:t>
            </a:r>
            <a:endParaRPr lang="nl-NL" sz="2700" dirty="0"/>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1</a:t>
            </a:fld>
            <a:endParaRPr lang="nl-NL"/>
          </a:p>
        </p:txBody>
      </p:sp>
      <p:pic>
        <p:nvPicPr>
          <p:cNvPr id="11" name="Afbeelding 10">
            <a:extLst>
              <a:ext uri="{FF2B5EF4-FFF2-40B4-BE49-F238E27FC236}">
                <a16:creationId xmlns:a16="http://schemas.microsoft.com/office/drawing/2014/main" id="{7CD2E178-9DDB-43BB-B07F-B8AD6F387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429348"/>
            <a:ext cx="6669741" cy="3364735"/>
          </a:xfrm>
          <a:prstGeom prst="rect">
            <a:avLst/>
          </a:prstGeom>
        </p:spPr>
      </p:pic>
    </p:spTree>
    <p:extLst>
      <p:ext uri="{BB962C8B-B14F-4D97-AF65-F5344CB8AC3E}">
        <p14:creationId xmlns:p14="http://schemas.microsoft.com/office/powerpoint/2010/main" val="3371048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1" y="1428750"/>
            <a:ext cx="4000499" cy="3139679"/>
          </a:xfrm>
        </p:spPr>
        <p:txBody>
          <a:bodyPr>
            <a:normAutofit fontScale="70000" lnSpcReduction="20000"/>
          </a:bodyPr>
          <a:lstStyle/>
          <a:p>
            <a:pPr>
              <a:spcAft>
                <a:spcPts val="600"/>
              </a:spcAft>
            </a:pPr>
            <a:r>
              <a:rPr lang="en-US" dirty="0"/>
              <a:t>This section describes the software architecture based on the C4 model. This model consists of 4 levels </a:t>
            </a:r>
            <a:r>
              <a:rPr lang="en-US"/>
              <a:t>of abstraction, </a:t>
            </a:r>
            <a:r>
              <a:rPr lang="en-US" dirty="0"/>
              <a:t>of which the first three have been used:</a:t>
            </a:r>
          </a:p>
          <a:p>
            <a:pPr marL="523875" lvl="1" indent="-342900">
              <a:spcAft>
                <a:spcPts val="600"/>
              </a:spcAft>
              <a:buFont typeface="+mj-lt"/>
              <a:buAutoNum type="arabicPeriod"/>
            </a:pPr>
            <a:r>
              <a:rPr lang="en-US" b="1" dirty="0"/>
              <a:t>System context diagrams</a:t>
            </a:r>
            <a:r>
              <a:rPr lang="en-US" dirty="0"/>
              <a:t>: show the information system (algorithm catalog) in scope in relation to users and other information systems</a:t>
            </a:r>
          </a:p>
          <a:p>
            <a:pPr marL="523875" lvl="1" indent="-342900">
              <a:spcAft>
                <a:spcPts val="600"/>
              </a:spcAft>
              <a:buFont typeface="+mj-lt"/>
              <a:buAutoNum type="arabicPeriod"/>
            </a:pPr>
            <a:r>
              <a:rPr lang="en-US" b="1" dirty="0"/>
              <a:t>Container diagrams</a:t>
            </a:r>
            <a:r>
              <a:rPr lang="en-US" dirty="0"/>
              <a:t>: decomposition of the information system in containers. A container represents an application or a data store.</a:t>
            </a:r>
          </a:p>
          <a:p>
            <a:pPr marL="523875" lvl="1" indent="-342900">
              <a:spcAft>
                <a:spcPts val="600"/>
              </a:spcAft>
              <a:buFont typeface="+mj-lt"/>
              <a:buAutoNum type="arabicPeriod"/>
            </a:pPr>
            <a:r>
              <a:rPr lang="en-US" b="1" dirty="0"/>
              <a:t>Component diagrams</a:t>
            </a:r>
            <a:r>
              <a:rPr lang="en-US" dirty="0"/>
              <a:t>: decomposition of a container into components.</a:t>
            </a:r>
          </a:p>
          <a:p>
            <a:pPr marL="523875" lvl="1" indent="-342900">
              <a:spcAft>
                <a:spcPts val="600"/>
              </a:spcAft>
              <a:buFont typeface="+mj-lt"/>
              <a:buAutoNum type="arabicPeriod"/>
            </a:pPr>
            <a:r>
              <a:rPr lang="en-US" b="1" dirty="0"/>
              <a:t>Code diagrams</a:t>
            </a:r>
            <a:r>
              <a:rPr lang="en-US" dirty="0"/>
              <a:t>: design of the software code.</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Software </a:t>
            </a:r>
            <a:r>
              <a:rPr lang="nl-NL" sz="2700" dirty="0" err="1"/>
              <a:t>architecture</a:t>
            </a:r>
            <a:endParaRPr lang="nl-NL" sz="2700" dirty="0"/>
          </a:p>
        </p:txBody>
      </p:sp>
      <p:pic>
        <p:nvPicPr>
          <p:cNvPr id="5" name="Afbeelding 4">
            <a:extLst>
              <a:ext uri="{FF2B5EF4-FFF2-40B4-BE49-F238E27FC236}">
                <a16:creationId xmlns:a16="http://schemas.microsoft.com/office/drawing/2014/main" id="{779C9B13-350D-4512-BA1C-E5974B0E1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1" y="1751960"/>
            <a:ext cx="3836988" cy="2539868"/>
          </a:xfrm>
          <a:prstGeom prst="rect">
            <a:avLst/>
          </a:prstGeom>
        </p:spPr>
      </p:pic>
    </p:spTree>
    <p:extLst>
      <p:ext uri="{BB962C8B-B14F-4D97-AF65-F5344CB8AC3E}">
        <p14:creationId xmlns:p14="http://schemas.microsoft.com/office/powerpoint/2010/main" val="37263997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extdiagram </a:t>
            </a:r>
            <a:r>
              <a:rPr lang="nl-NL" dirty="0" err="1"/>
              <a:t>Algorithm</a:t>
            </a:r>
            <a:r>
              <a:rPr lang="nl-NL" dirty="0"/>
              <a:t>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3</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95FE5410-F673-4470-8C11-E36B1A58DB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599898"/>
            <a:ext cx="8019074" cy="4105821"/>
          </a:xfrm>
          <a:prstGeom prst="rect">
            <a:avLst/>
          </a:prstGeom>
        </p:spPr>
      </p:pic>
    </p:spTree>
    <p:extLst>
      <p:ext uri="{BB962C8B-B14F-4D97-AF65-F5344CB8AC3E}">
        <p14:creationId xmlns:p14="http://schemas.microsoft.com/office/powerpoint/2010/main" val="2812970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ainerdiagram </a:t>
            </a:r>
            <a:r>
              <a:rPr lang="nl-NL" dirty="0" err="1"/>
              <a:t>Algorithm</a:t>
            </a:r>
            <a:r>
              <a:rPr lang="nl-NL" dirty="0"/>
              <a:t>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4</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696352F5-F711-4D8F-8D4D-2DC47B4566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605114"/>
            <a:ext cx="6718708" cy="4188969"/>
          </a:xfrm>
          <a:prstGeom prst="rect">
            <a:avLst/>
          </a:prstGeom>
        </p:spPr>
      </p:pic>
    </p:spTree>
    <p:extLst>
      <p:ext uri="{BB962C8B-B14F-4D97-AF65-F5344CB8AC3E}">
        <p14:creationId xmlns:p14="http://schemas.microsoft.com/office/powerpoint/2010/main" val="649030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9A1128F6-2639-DD80-F81B-B8CE11A06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557048"/>
            <a:ext cx="7599509" cy="4206299"/>
          </a:xfrm>
          <a:prstGeom prst="rect">
            <a:avLst/>
          </a:prstGeom>
        </p:spPr>
      </p:pic>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mponentdiagram Backend API </a:t>
            </a:r>
            <a:r>
              <a:rPr lang="nl-NL" dirty="0" err="1"/>
              <a:t>application</a:t>
            </a:r>
            <a:endParaRPr lang="nl-NL" dirty="0"/>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5</a:t>
            </a:fld>
            <a:endParaRPr lang="nl-NL">
              <a:latin typeface="Calibri" panose="020F0502020204030204" pitchFamily="34" charset="0"/>
              <a:cs typeface="Calibri" panose="020F0502020204030204" pitchFamily="34" charset="0"/>
            </a:endParaRPr>
          </a:p>
        </p:txBody>
      </p:sp>
      <p:sp>
        <p:nvSpPr>
          <p:cNvPr id="6" name="Tijdelijke aanduiding voor inhoud 7">
            <a:extLst>
              <a:ext uri="{FF2B5EF4-FFF2-40B4-BE49-F238E27FC236}">
                <a16:creationId xmlns:a16="http://schemas.microsoft.com/office/drawing/2014/main" id="{CF644BF0-5ABC-4B28-9F2C-1757B0ECE1C4}"/>
              </a:ext>
            </a:extLst>
          </p:cNvPr>
          <p:cNvSpPr>
            <a:spLocks noGrp="1"/>
          </p:cNvSpPr>
          <p:nvPr>
            <p:ph idx="1"/>
          </p:nvPr>
        </p:nvSpPr>
        <p:spPr>
          <a:xfrm>
            <a:off x="7107731" y="2950669"/>
            <a:ext cx="1867499" cy="1741053"/>
          </a:xfrm>
        </p:spPr>
        <p:txBody>
          <a:bodyPr>
            <a:normAutofit fontScale="77500" lnSpcReduction="20000"/>
          </a:bodyPr>
          <a:lstStyle/>
          <a:p>
            <a:r>
              <a:rPr lang="en-US" dirty="0"/>
              <a:t>The Backend API application has an API for the national facility with which the national facility can harvest the minimum set of metadata.</a:t>
            </a:r>
            <a:endParaRPr lang="nl-NL" dirty="0"/>
          </a:p>
        </p:txBody>
      </p:sp>
    </p:spTree>
    <p:extLst>
      <p:ext uri="{BB962C8B-B14F-4D97-AF65-F5344CB8AC3E}">
        <p14:creationId xmlns:p14="http://schemas.microsoft.com/office/powerpoint/2010/main" val="142520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6</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428750"/>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3479340615"/>
              </p:ext>
            </p:extLst>
          </p:nvPr>
        </p:nvGraphicFramePr>
        <p:xfrm>
          <a:off x="653143" y="1888808"/>
          <a:ext cx="7684031" cy="2260600"/>
        </p:xfrm>
        <a:graphic>
          <a:graphicData uri="http://schemas.openxmlformats.org/drawingml/2006/table">
            <a:tbl>
              <a:tblPr firstRow="1" bandRow="1">
                <a:tableStyleId>{3B4B98B0-60AC-42C2-AFA5-B58CD77FA1E5}</a:tableStyleId>
              </a:tblPr>
              <a:tblGrid>
                <a:gridCol w="1145864">
                  <a:extLst>
                    <a:ext uri="{9D8B030D-6E8A-4147-A177-3AD203B41FA5}">
                      <a16:colId xmlns:a16="http://schemas.microsoft.com/office/drawing/2014/main" val="1819692443"/>
                    </a:ext>
                  </a:extLst>
                </a:gridCol>
                <a:gridCol w="2058378">
                  <a:extLst>
                    <a:ext uri="{9D8B030D-6E8A-4147-A177-3AD203B41FA5}">
                      <a16:colId xmlns:a16="http://schemas.microsoft.com/office/drawing/2014/main" val="773264213"/>
                    </a:ext>
                  </a:extLst>
                </a:gridCol>
                <a:gridCol w="2113109">
                  <a:extLst>
                    <a:ext uri="{9D8B030D-6E8A-4147-A177-3AD203B41FA5}">
                      <a16:colId xmlns:a16="http://schemas.microsoft.com/office/drawing/2014/main" val="3108451495"/>
                    </a:ext>
                  </a:extLst>
                </a:gridCol>
                <a:gridCol w="2366680">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Basic IT </a:t>
                      </a:r>
                      <a:r>
                        <a:rPr lang="nl-NL" sz="1000" dirty="0" err="1"/>
                        <a:t>Infrastructure</a:t>
                      </a:r>
                      <a:endParaRPr lang="nl-NL" sz="1000" dirty="0"/>
                    </a:p>
                  </a:txBody>
                  <a:tcPr/>
                </a:tc>
                <a:tc>
                  <a:txBody>
                    <a:bodyPr/>
                    <a:lstStyle/>
                    <a:p>
                      <a:r>
                        <a:rPr lang="nl-NL" sz="1000" dirty="0"/>
                        <a:t>Server operating system</a:t>
                      </a:r>
                    </a:p>
                  </a:txBody>
                  <a:tcPr/>
                </a:tc>
                <a:tc>
                  <a:txBody>
                    <a:bodyPr/>
                    <a:lstStyle/>
                    <a:p>
                      <a:endParaRPr lang="nl-NL" sz="1000" dirty="0"/>
                    </a:p>
                  </a:txBody>
                  <a:tcPr/>
                </a:tc>
                <a:tc>
                  <a:txBody>
                    <a:bodyPr/>
                    <a:lstStyle/>
                    <a:p>
                      <a:r>
                        <a:rPr lang="nl-NL" sz="1000" dirty="0"/>
                        <a:t>Linux</a:t>
                      </a:r>
                    </a:p>
                  </a:txBody>
                  <a:tcPr/>
                </a:tc>
                <a:extLst>
                  <a:ext uri="{0D108BD9-81ED-4DB2-BD59-A6C34878D82A}">
                    <a16:rowId xmlns:a16="http://schemas.microsoft.com/office/drawing/2014/main" val="1381211693"/>
                  </a:ext>
                </a:extLst>
              </a:tr>
              <a:tr h="370840">
                <a:tc>
                  <a:txBody>
                    <a:bodyPr/>
                    <a:lstStyle/>
                    <a:p>
                      <a:r>
                        <a:rPr lang="nl-NL" sz="1000" dirty="0"/>
                        <a:t>Basic IT </a:t>
                      </a:r>
                      <a:r>
                        <a:rPr lang="nl-NL" sz="1000" dirty="0" err="1"/>
                        <a:t>Infrastructure</a:t>
                      </a:r>
                      <a:endParaRPr lang="nl-NL" sz="1000" dirty="0"/>
                    </a:p>
                  </a:txBody>
                  <a:tcPr/>
                </a:tc>
                <a:tc>
                  <a:txBody>
                    <a:bodyPr/>
                    <a:lstStyle/>
                    <a:p>
                      <a:r>
                        <a:rPr lang="nl-NL" sz="1000" dirty="0"/>
                        <a:t>SQL-databasemanagement system</a:t>
                      </a:r>
                    </a:p>
                  </a:txBody>
                  <a:tcPr/>
                </a:tc>
                <a:tc>
                  <a:txBody>
                    <a:bodyPr/>
                    <a:lstStyle/>
                    <a:p>
                      <a:endParaRPr lang="nl-NL" sz="1000" dirty="0"/>
                    </a:p>
                  </a:txBody>
                  <a:tcPr/>
                </a:tc>
                <a:tc>
                  <a:txBody>
                    <a:bodyPr/>
                    <a:lstStyle/>
                    <a:p>
                      <a:r>
                        <a:rPr lang="nl-NL" sz="1000" dirty="0" err="1"/>
                        <a:t>PostgreSQL</a:t>
                      </a:r>
                      <a:endParaRPr lang="nl-NL" sz="1000" dirty="0"/>
                    </a:p>
                  </a:txBody>
                  <a:tcPr/>
                </a:tc>
                <a:extLst>
                  <a:ext uri="{0D108BD9-81ED-4DB2-BD59-A6C34878D82A}">
                    <a16:rowId xmlns:a16="http://schemas.microsoft.com/office/drawing/2014/main" val="1172344405"/>
                  </a:ext>
                </a:extLst>
              </a:tr>
              <a:tr h="370840">
                <a:tc>
                  <a:txBody>
                    <a:bodyPr/>
                    <a:lstStyle/>
                    <a:p>
                      <a:r>
                        <a:rPr lang="nl-NL" sz="1000" dirty="0"/>
                        <a:t>Basic IT </a:t>
                      </a:r>
                      <a:r>
                        <a:rPr lang="nl-NL" sz="1000" dirty="0" err="1"/>
                        <a:t>Infrastructure</a:t>
                      </a:r>
                      <a:endParaRPr lang="nl-NL" sz="1000" dirty="0"/>
                    </a:p>
                  </a:txBody>
                  <a:tcPr/>
                </a:tc>
                <a:tc>
                  <a:txBody>
                    <a:bodyPr/>
                    <a:lstStyle/>
                    <a:p>
                      <a:r>
                        <a:rPr lang="en-US" sz="1000" dirty="0"/>
                        <a:t>Document-oriented database for creating a search engine, is more Java oriented</a:t>
                      </a:r>
                      <a:endParaRPr lang="nl-NL" sz="1000" dirty="0"/>
                    </a:p>
                  </a:txBody>
                  <a:tcPr/>
                </a:tc>
                <a:tc>
                  <a:txBody>
                    <a:bodyPr/>
                    <a:lstStyle/>
                    <a:p>
                      <a:endParaRPr lang="nl-NL" sz="1000" dirty="0"/>
                    </a:p>
                  </a:txBody>
                  <a:tcPr/>
                </a:tc>
                <a:tc>
                  <a:txBody>
                    <a:bodyPr/>
                    <a:lstStyle/>
                    <a:p>
                      <a:r>
                        <a:rPr lang="nl-NL" sz="1000" dirty="0" err="1"/>
                        <a:t>ElasticSearch</a:t>
                      </a:r>
                      <a:endParaRPr lang="nl-NL" sz="1000" dirty="0"/>
                    </a:p>
                  </a:txBody>
                  <a:tcPr/>
                </a:tc>
                <a:extLst>
                  <a:ext uri="{0D108BD9-81ED-4DB2-BD59-A6C34878D82A}">
                    <a16:rowId xmlns:a16="http://schemas.microsoft.com/office/drawing/2014/main" val="1551545615"/>
                  </a:ext>
                </a:extLst>
              </a:tr>
              <a:tr h="373371">
                <a:tc>
                  <a:txBody>
                    <a:bodyPr/>
                    <a:lstStyle/>
                    <a:p>
                      <a:r>
                        <a:rPr lang="nl-NL" sz="1000" dirty="0"/>
                        <a:t>Basic IT </a:t>
                      </a:r>
                      <a:r>
                        <a:rPr lang="nl-NL" sz="1000" dirty="0" err="1"/>
                        <a:t>Infrastructure</a:t>
                      </a:r>
                      <a:endParaRPr lang="nl-NL" sz="1000" dirty="0"/>
                    </a:p>
                  </a:txBody>
                  <a:tcPr/>
                </a:tc>
                <a:tc>
                  <a:txBody>
                    <a:bodyPr/>
                    <a:lstStyle/>
                    <a:p>
                      <a:r>
                        <a:rPr lang="en-US" sz="1000" dirty="0"/>
                        <a:t>HTTP server for communication between </a:t>
                      </a:r>
                      <a:r>
                        <a:rPr lang="en-US" sz="1000" dirty="0" err="1"/>
                        <a:t>JavaServerPages</a:t>
                      </a:r>
                      <a:r>
                        <a:rPr lang="en-US" sz="1000" dirty="0"/>
                        <a:t> and webserver, is more Java oriented</a:t>
                      </a:r>
                      <a:endParaRPr lang="nl-NL" sz="1000" dirty="0"/>
                    </a:p>
                  </a:txBody>
                  <a:tcPr/>
                </a:tc>
                <a:tc>
                  <a:txBody>
                    <a:bodyPr/>
                    <a:lstStyle/>
                    <a:p>
                      <a:endParaRPr lang="nl-NL" sz="1000" dirty="0"/>
                    </a:p>
                  </a:txBody>
                  <a:tcPr/>
                </a:tc>
                <a:tc>
                  <a:txBody>
                    <a:bodyPr/>
                    <a:lstStyle/>
                    <a:p>
                      <a:r>
                        <a:rPr lang="nl-NL" sz="1000" dirty="0"/>
                        <a:t>Apache </a:t>
                      </a:r>
                      <a:r>
                        <a:rPr lang="nl-NL" sz="1000" dirty="0" err="1"/>
                        <a:t>Tomcat</a:t>
                      </a:r>
                      <a:r>
                        <a:rPr lang="nl-NL" sz="1000" dirty="0"/>
                        <a:t> </a:t>
                      </a:r>
                      <a:r>
                        <a:rPr lang="nl-NL" sz="1000" dirty="0" err="1"/>
                        <a:t>version</a:t>
                      </a:r>
                      <a:r>
                        <a:rPr lang="nl-NL" sz="1000" dirty="0"/>
                        <a:t> 8.5</a:t>
                      </a:r>
                    </a:p>
                  </a:txBody>
                  <a:tcPr/>
                </a:tc>
                <a:extLst>
                  <a:ext uri="{0D108BD9-81ED-4DB2-BD59-A6C34878D82A}">
                    <a16:rowId xmlns:a16="http://schemas.microsoft.com/office/drawing/2014/main" val="2594761650"/>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1/3</a:t>
            </a:r>
          </a:p>
        </p:txBody>
      </p:sp>
    </p:spTree>
    <p:extLst>
      <p:ext uri="{BB962C8B-B14F-4D97-AF65-F5344CB8AC3E}">
        <p14:creationId xmlns:p14="http://schemas.microsoft.com/office/powerpoint/2010/main" val="2309313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7</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3604670562"/>
              </p:ext>
            </p:extLst>
          </p:nvPr>
        </p:nvGraphicFramePr>
        <p:xfrm>
          <a:off x="645459" y="1679853"/>
          <a:ext cx="7691716" cy="3357880"/>
        </p:xfrm>
        <a:graphic>
          <a:graphicData uri="http://schemas.openxmlformats.org/drawingml/2006/table">
            <a:tbl>
              <a:tblPr firstRow="1" bandRow="1">
                <a:tableStyleId>{3B4B98B0-60AC-42C2-AFA5-B58CD77FA1E5}</a:tableStyleId>
              </a:tblPr>
              <a:tblGrid>
                <a:gridCol w="1529123">
                  <a:extLst>
                    <a:ext uri="{9D8B030D-6E8A-4147-A177-3AD203B41FA5}">
                      <a16:colId xmlns:a16="http://schemas.microsoft.com/office/drawing/2014/main" val="1819692443"/>
                    </a:ext>
                  </a:extLst>
                </a:gridCol>
                <a:gridCol w="1867220">
                  <a:extLst>
                    <a:ext uri="{9D8B030D-6E8A-4147-A177-3AD203B41FA5}">
                      <a16:colId xmlns:a16="http://schemas.microsoft.com/office/drawing/2014/main" val="773264213"/>
                    </a:ext>
                  </a:extLst>
                </a:gridCol>
                <a:gridCol w="1913324">
                  <a:extLst>
                    <a:ext uri="{9D8B030D-6E8A-4147-A177-3AD203B41FA5}">
                      <a16:colId xmlns:a16="http://schemas.microsoft.com/office/drawing/2014/main" val="1305587374"/>
                    </a:ext>
                  </a:extLst>
                </a:gridCol>
                <a:gridCol w="2382049">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r>
                        <a:rPr lang="nl-NL" sz="1000" dirty="0"/>
                        <a:t>Application development</a:t>
                      </a:r>
                    </a:p>
                  </a:txBody>
                  <a:tcPr/>
                </a:tc>
                <a:tc>
                  <a:txBody>
                    <a:bodyPr/>
                    <a:lstStyle/>
                    <a:p>
                      <a:r>
                        <a:rPr lang="en-US" sz="1000" dirty="0"/>
                        <a:t>Programming languages for the frontend of a web application in the browser</a:t>
                      </a:r>
                      <a:endParaRPr lang="nl-NL" sz="1000" dirty="0"/>
                    </a:p>
                  </a:txBody>
                  <a:tcPr/>
                </a:tc>
                <a:tc>
                  <a:txBody>
                    <a:bodyPr/>
                    <a:lstStyle/>
                    <a:p>
                      <a:endParaRPr lang="nl-NL" sz="1000" dirty="0"/>
                    </a:p>
                  </a:txBody>
                  <a:tcPr/>
                </a:tc>
                <a:tc>
                  <a:txBody>
                    <a:bodyPr/>
                    <a:lstStyle/>
                    <a:p>
                      <a:r>
                        <a:rPr lang="nl-NL" sz="1000" dirty="0"/>
                        <a:t>HTML, CSS </a:t>
                      </a:r>
                      <a:r>
                        <a:rPr lang="nl-NL" sz="1000" dirty="0" err="1"/>
                        <a:t>and</a:t>
                      </a:r>
                      <a:r>
                        <a:rPr lang="nl-NL" sz="1000" dirty="0"/>
                        <a:t> </a:t>
                      </a:r>
                      <a:r>
                        <a:rPr lang="nl-NL" sz="1000" dirty="0" err="1"/>
                        <a:t>JavaScript</a:t>
                      </a:r>
                      <a:endParaRPr lang="nl-NL" sz="1000" dirty="0"/>
                    </a:p>
                  </a:txBody>
                  <a:tcPr/>
                </a:tc>
                <a:extLst>
                  <a:ext uri="{0D108BD9-81ED-4DB2-BD59-A6C34878D82A}">
                    <a16:rowId xmlns:a16="http://schemas.microsoft.com/office/drawing/2014/main" val="3511719735"/>
                  </a:ext>
                </a:extLst>
              </a:tr>
              <a:tr h="370840">
                <a:tc>
                  <a:txBody>
                    <a:bodyPr/>
                    <a:lstStyle/>
                    <a:p>
                      <a:r>
                        <a:rPr lang="nl-NL" sz="1000" dirty="0"/>
                        <a:t>Application development</a:t>
                      </a:r>
                    </a:p>
                  </a:txBody>
                  <a:tcPr/>
                </a:tc>
                <a:tc>
                  <a:txBody>
                    <a:bodyPr/>
                    <a:lstStyle/>
                    <a:p>
                      <a:r>
                        <a:rPr lang="en-US" sz="1000" dirty="0"/>
                        <a:t>Programming language, general, for the backend</a:t>
                      </a:r>
                      <a:endParaRPr lang="nl-NL" sz="1000" dirty="0"/>
                    </a:p>
                  </a:txBody>
                  <a:tcPr/>
                </a:tc>
                <a:tc>
                  <a:txBody>
                    <a:bodyPr/>
                    <a:lstStyle/>
                    <a:p>
                      <a:endParaRPr lang="nl-NL" sz="1000" dirty="0"/>
                    </a:p>
                  </a:txBody>
                  <a:tcPr/>
                </a:tc>
                <a:tc>
                  <a:txBody>
                    <a:bodyPr/>
                    <a:lstStyle/>
                    <a:p>
                      <a:r>
                        <a:rPr lang="nl-NL" sz="1000" dirty="0"/>
                        <a:t>Python 3.6.x</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Library for object serialization and deserialization i.r.t. Python</a:t>
                      </a:r>
                      <a:endParaRPr lang="nl-NL" sz="1000" dirty="0"/>
                    </a:p>
                  </a:txBody>
                  <a:tcPr/>
                </a:tc>
                <a:tc>
                  <a:txBody>
                    <a:bodyPr/>
                    <a:lstStyle/>
                    <a:p>
                      <a:endParaRPr lang="nl-NL" sz="1000" dirty="0"/>
                    </a:p>
                  </a:txBody>
                  <a:tcPr/>
                </a:tc>
                <a:tc>
                  <a:txBody>
                    <a:bodyPr/>
                    <a:lstStyle/>
                    <a:p>
                      <a:r>
                        <a:rPr lang="nl-NL" sz="1000" dirty="0"/>
                        <a:t>Marshmallow 3.0.0b20</a:t>
                      </a:r>
                    </a:p>
                  </a:txBody>
                  <a:tcPr/>
                </a:tc>
                <a:extLst>
                  <a:ext uri="{0D108BD9-81ED-4DB2-BD59-A6C34878D82A}">
                    <a16:rowId xmlns:a16="http://schemas.microsoft.com/office/drawing/2014/main" val="1381211693"/>
                  </a:ext>
                </a:extLst>
              </a:tr>
              <a:tr h="370840">
                <a:tc>
                  <a:txBody>
                    <a:bodyPr/>
                    <a:lstStyle/>
                    <a:p>
                      <a:r>
                        <a:rPr lang="nl-NL" sz="1000" dirty="0"/>
                        <a:t>Application development</a:t>
                      </a:r>
                    </a:p>
                  </a:txBody>
                  <a:tcPr/>
                </a:tc>
                <a:tc>
                  <a:txBody>
                    <a:bodyPr/>
                    <a:lstStyle/>
                    <a:p>
                      <a:r>
                        <a:rPr lang="nl-NL" sz="1000" dirty="0" err="1"/>
                        <a:t>Microwebframework</a:t>
                      </a:r>
                      <a:endParaRPr lang="nl-NL" sz="1000" dirty="0"/>
                    </a:p>
                  </a:txBody>
                  <a:tcPr/>
                </a:tc>
                <a:tc>
                  <a:txBody>
                    <a:bodyPr/>
                    <a:lstStyle/>
                    <a:p>
                      <a:endParaRPr lang="nl-NL" sz="1000" dirty="0"/>
                    </a:p>
                  </a:txBody>
                  <a:tcPr/>
                </a:tc>
                <a:tc>
                  <a:txBody>
                    <a:bodyPr/>
                    <a:lstStyle/>
                    <a:p>
                      <a:r>
                        <a:rPr lang="nl-NL" sz="1000" dirty="0" err="1"/>
                        <a:t>Flask</a:t>
                      </a:r>
                      <a:r>
                        <a:rPr lang="nl-NL" sz="1000" dirty="0"/>
                        <a:t> 1.0.2</a:t>
                      </a:r>
                    </a:p>
                  </a:txBody>
                  <a:tcPr/>
                </a:tc>
                <a:extLst>
                  <a:ext uri="{0D108BD9-81ED-4DB2-BD59-A6C34878D82A}">
                    <a16:rowId xmlns:a16="http://schemas.microsoft.com/office/drawing/2014/main" val="12338115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Extension on Flask for generation / authentication with JSON Web Token (JWT)</a:t>
                      </a:r>
                      <a:endParaRPr lang="nl-NL" sz="1000" dirty="0"/>
                    </a:p>
                  </a:txBody>
                  <a:tcPr/>
                </a:tc>
                <a:tc>
                  <a:txBody>
                    <a:bodyPr/>
                    <a:lstStyle/>
                    <a:p>
                      <a:endParaRPr lang="nl-NL" sz="1000" dirty="0"/>
                    </a:p>
                  </a:txBody>
                  <a:tcPr/>
                </a:tc>
                <a:tc>
                  <a:txBody>
                    <a:bodyPr/>
                    <a:lstStyle/>
                    <a:p>
                      <a:pPr marL="0" algn="l" defTabSz="914400" rtl="0" eaLnBrk="1" fontAlgn="t" latinLnBrk="0" hangingPunct="1"/>
                      <a:r>
                        <a:rPr lang="nl-NL" sz="1000" kern="1200" dirty="0" err="1">
                          <a:solidFill>
                            <a:schemeClr val="tx1"/>
                          </a:solidFill>
                          <a:latin typeface="+mn-lt"/>
                          <a:ea typeface="+mn-ea"/>
                          <a:cs typeface="+mn-cs"/>
                        </a:rPr>
                        <a:t>Flask</a:t>
                      </a:r>
                      <a:r>
                        <a:rPr lang="nl-NL" sz="1000" kern="1200" dirty="0">
                          <a:solidFill>
                            <a:schemeClr val="tx1"/>
                          </a:solidFill>
                          <a:latin typeface="+mn-lt"/>
                          <a:ea typeface="+mn-ea"/>
                          <a:cs typeface="+mn-cs"/>
                        </a:rPr>
                        <a:t> JWT </a:t>
                      </a:r>
                      <a:r>
                        <a:rPr lang="nl-NL" sz="1000" kern="1200" dirty="0" err="1">
                          <a:solidFill>
                            <a:schemeClr val="tx1"/>
                          </a:solidFill>
                          <a:latin typeface="+mn-lt"/>
                          <a:ea typeface="+mn-ea"/>
                          <a:cs typeface="+mn-cs"/>
                        </a:rPr>
                        <a:t>extended</a:t>
                      </a:r>
                      <a:r>
                        <a:rPr lang="nl-NL" sz="1000" kern="1200" dirty="0">
                          <a:solidFill>
                            <a:schemeClr val="tx1"/>
                          </a:solidFill>
                          <a:latin typeface="+mn-lt"/>
                          <a:ea typeface="+mn-ea"/>
                          <a:cs typeface="+mn-cs"/>
                        </a:rPr>
                        <a:t> 3.13.1</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on development</a:t>
                      </a:r>
                    </a:p>
                  </a:txBody>
                  <a:tcPr/>
                </a:tc>
                <a:tc>
                  <a:txBody>
                    <a:bodyPr/>
                    <a:lstStyle/>
                    <a:p>
                      <a:r>
                        <a:rPr lang="en-US" sz="1000" dirty="0"/>
                        <a:t>Extension on Flask for interacting with SQL databases</a:t>
                      </a:r>
                      <a:endParaRPr lang="nl-NL" sz="1000" dirty="0"/>
                    </a:p>
                  </a:txBody>
                  <a:tcPr/>
                </a:tc>
                <a:tc>
                  <a:txBody>
                    <a:bodyPr/>
                    <a:lstStyle/>
                    <a:p>
                      <a:endParaRPr lang="nl-NL" sz="1000" dirty="0"/>
                    </a:p>
                  </a:txBody>
                  <a:tcPr/>
                </a:tc>
                <a:tc>
                  <a:txBody>
                    <a:bodyPr/>
                    <a:lstStyle/>
                    <a:p>
                      <a:r>
                        <a:rPr lang="nl-NL" sz="1000" dirty="0"/>
                        <a:t>Records 0.5.2 &amp; </a:t>
                      </a:r>
                      <a:r>
                        <a:rPr lang="nl-NL" sz="1000" dirty="0" err="1"/>
                        <a:t>SqlAlchemy</a:t>
                      </a:r>
                      <a:r>
                        <a:rPr lang="nl-NL" sz="1000" dirty="0"/>
                        <a:t> 1.3.0b1</a:t>
                      </a:r>
                    </a:p>
                  </a:txBody>
                  <a:tcPr/>
                </a:tc>
                <a:extLst>
                  <a:ext uri="{0D108BD9-81ED-4DB2-BD59-A6C34878D82A}">
                    <a16:rowId xmlns:a16="http://schemas.microsoft.com/office/drawing/2014/main" val="2028859653"/>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2/3</a:t>
            </a:r>
          </a:p>
        </p:txBody>
      </p:sp>
    </p:spTree>
    <p:extLst>
      <p:ext uri="{BB962C8B-B14F-4D97-AF65-F5344CB8AC3E}">
        <p14:creationId xmlns:p14="http://schemas.microsoft.com/office/powerpoint/2010/main" val="1791770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8</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830569363"/>
              </p:ext>
            </p:extLst>
          </p:nvPr>
        </p:nvGraphicFramePr>
        <p:xfrm>
          <a:off x="645459" y="1679853"/>
          <a:ext cx="7691716" cy="2352040"/>
        </p:xfrm>
        <a:graphic>
          <a:graphicData uri="http://schemas.openxmlformats.org/drawingml/2006/table">
            <a:tbl>
              <a:tblPr firstRow="1" bandRow="1">
                <a:tableStyleId>{3B4B98B0-60AC-42C2-AFA5-B58CD77FA1E5}</a:tableStyleId>
              </a:tblPr>
              <a:tblGrid>
                <a:gridCol w="929768">
                  <a:extLst>
                    <a:ext uri="{9D8B030D-6E8A-4147-A177-3AD203B41FA5}">
                      <a16:colId xmlns:a16="http://schemas.microsoft.com/office/drawing/2014/main" val="1819692443"/>
                    </a:ext>
                  </a:extLst>
                </a:gridCol>
                <a:gridCol w="2120793">
                  <a:extLst>
                    <a:ext uri="{9D8B030D-6E8A-4147-A177-3AD203B41FA5}">
                      <a16:colId xmlns:a16="http://schemas.microsoft.com/office/drawing/2014/main" val="773264213"/>
                    </a:ext>
                  </a:extLst>
                </a:gridCol>
                <a:gridCol w="2028585">
                  <a:extLst>
                    <a:ext uri="{9D8B030D-6E8A-4147-A177-3AD203B41FA5}">
                      <a16:colId xmlns:a16="http://schemas.microsoft.com/office/drawing/2014/main" val="3843369174"/>
                    </a:ext>
                  </a:extLst>
                </a:gridCol>
                <a:gridCol w="2612570">
                  <a:extLst>
                    <a:ext uri="{9D8B030D-6E8A-4147-A177-3AD203B41FA5}">
                      <a16:colId xmlns:a16="http://schemas.microsoft.com/office/drawing/2014/main" val="3481939807"/>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I development</a:t>
                      </a:r>
                    </a:p>
                  </a:txBody>
                  <a:tcPr/>
                </a:tc>
                <a:tc>
                  <a:txBody>
                    <a:bodyPr/>
                    <a:lstStyle/>
                    <a:p>
                      <a:r>
                        <a:rPr lang="en-US" sz="1000" dirty="0"/>
                        <a:t>Extension on Flask for developing RESTful 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dirty="0"/>
                    </a:p>
                  </a:txBody>
                  <a:tcPr/>
                </a:tc>
                <a:tc>
                  <a:txBody>
                    <a:bodyPr/>
                    <a:lstStyle/>
                    <a:p>
                      <a:r>
                        <a:rPr lang="nl-NL" sz="1000" dirty="0" err="1"/>
                        <a:t>Flask</a:t>
                      </a:r>
                      <a:r>
                        <a:rPr lang="nl-NL" sz="1000" dirty="0"/>
                        <a:t> </a:t>
                      </a:r>
                      <a:r>
                        <a:rPr lang="nl-NL" sz="1000" dirty="0" err="1"/>
                        <a:t>Restful</a:t>
                      </a:r>
                      <a:r>
                        <a:rPr lang="nl-NL" sz="1000" dirty="0"/>
                        <a:t> 0.3.6</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API </a:t>
                      </a:r>
                      <a:r>
                        <a:rPr lang="nl-NL" sz="1000" dirty="0" err="1"/>
                        <a:t>documentation</a:t>
                      </a:r>
                      <a:r>
                        <a:rPr lang="nl-NL" sz="1000" dirty="0"/>
                        <a:t> </a:t>
                      </a:r>
                      <a:r>
                        <a:rPr lang="nl-NL" sz="1000" dirty="0" err="1"/>
                        <a:t>generation</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1.0.0b5</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en-US" sz="1000" dirty="0"/>
                        <a:t>Extension on </a:t>
                      </a:r>
                      <a:r>
                        <a:rPr lang="en-US" sz="1000" dirty="0" err="1"/>
                        <a:t>Apispec</a:t>
                      </a:r>
                      <a:r>
                        <a:rPr lang="en-US" sz="1000" dirty="0"/>
                        <a:t> for integration with web framework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web </a:t>
                      </a:r>
                      <a:r>
                        <a:rPr lang="nl-NL" sz="1000" dirty="0" err="1"/>
                        <a:t>framework</a:t>
                      </a:r>
                      <a:r>
                        <a:rPr lang="nl-NL" sz="1000" dirty="0"/>
                        <a:t> </a:t>
                      </a:r>
                      <a:r>
                        <a:rPr lang="nl-NL" sz="1000" dirty="0" err="1"/>
                        <a:t>integration</a:t>
                      </a:r>
                      <a:endParaRPr lang="nl-NL" sz="1000" dirty="0"/>
                    </a:p>
                  </a:txBody>
                  <a:tcPr/>
                </a:tc>
                <a:extLst>
                  <a:ext uri="{0D108BD9-81ED-4DB2-BD59-A6C34878D82A}">
                    <a16:rowId xmlns:a16="http://schemas.microsoft.com/office/drawing/2014/main" val="19283892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en-US" sz="1000" dirty="0"/>
                        <a:t>Extension on </a:t>
                      </a:r>
                      <a:r>
                        <a:rPr lang="en-US" sz="1000" dirty="0" err="1"/>
                        <a:t>Apispec</a:t>
                      </a:r>
                      <a:r>
                        <a:rPr lang="en-US" sz="1000" dirty="0"/>
                        <a:t> for integration with Marshmallow</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Marshmallow </a:t>
                      </a:r>
                      <a:r>
                        <a:rPr lang="nl-NL" sz="1000" dirty="0" err="1"/>
                        <a:t>integration</a:t>
                      </a:r>
                      <a:endParaRPr lang="nl-NL" sz="1000" dirty="0"/>
                    </a:p>
                  </a:txBody>
                  <a:tcPr/>
                </a:tc>
                <a:extLst>
                  <a:ext uri="{0D108BD9-81ED-4DB2-BD59-A6C34878D82A}">
                    <a16:rowId xmlns:a16="http://schemas.microsoft.com/office/drawing/2014/main" val="13051847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mn-lt"/>
                          <a:ea typeface="+mn-ea"/>
                          <a:cs typeface="+mn-cs"/>
                        </a:rPr>
                        <a:t>API development</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Development platform </a:t>
                      </a:r>
                      <a:r>
                        <a:rPr lang="nl-NL" sz="1000" dirty="0" err="1"/>
                        <a:t>for</a:t>
                      </a:r>
                      <a:r>
                        <a:rPr lang="nl-NL" sz="1000" dirty="0"/>
                        <a:t>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Postman</a:t>
                      </a:r>
                    </a:p>
                  </a:txBody>
                  <a:tcPr/>
                </a:tc>
                <a:extLst>
                  <a:ext uri="{0D108BD9-81ED-4DB2-BD59-A6C34878D82A}">
                    <a16:rowId xmlns:a16="http://schemas.microsoft.com/office/drawing/2014/main" val="1593855294"/>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3/3</a:t>
            </a:r>
          </a:p>
        </p:txBody>
      </p:sp>
    </p:spTree>
    <p:extLst>
      <p:ext uri="{BB962C8B-B14F-4D97-AF65-F5344CB8AC3E}">
        <p14:creationId xmlns:p14="http://schemas.microsoft.com/office/powerpoint/2010/main" val="188258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8D848-D110-496F-AD28-2AE95E553C95}"/>
              </a:ext>
            </a:extLst>
          </p:cNvPr>
          <p:cNvSpPr>
            <a:spLocks noGrp="1"/>
          </p:cNvSpPr>
          <p:nvPr>
            <p:ph type="title"/>
          </p:nvPr>
        </p:nvSpPr>
        <p:spPr/>
        <p:txBody>
          <a:bodyPr/>
          <a:lstStyle/>
          <a:p>
            <a:r>
              <a:rPr lang="nl-NL" dirty="0"/>
              <a:t>Reading guide</a:t>
            </a:r>
          </a:p>
        </p:txBody>
      </p:sp>
      <p:sp>
        <p:nvSpPr>
          <p:cNvPr id="3" name="Tijdelijke aanduiding voor inhoud 2">
            <a:extLst>
              <a:ext uri="{FF2B5EF4-FFF2-40B4-BE49-F238E27FC236}">
                <a16:creationId xmlns:a16="http://schemas.microsoft.com/office/drawing/2014/main" id="{703326AC-DD39-415A-823D-1FD6D8613B4D}"/>
              </a:ext>
            </a:extLst>
          </p:cNvPr>
          <p:cNvSpPr>
            <a:spLocks noGrp="1"/>
          </p:cNvSpPr>
          <p:nvPr>
            <p:ph idx="1"/>
          </p:nvPr>
        </p:nvSpPr>
        <p:spPr/>
        <p:txBody>
          <a:bodyPr>
            <a:normAutofit fontScale="62500" lnSpcReduction="20000"/>
          </a:bodyPr>
          <a:lstStyle/>
          <a:p>
            <a:r>
              <a:rPr lang="en-US" dirty="0"/>
              <a:t>The diagrams in this document are based on the </a:t>
            </a:r>
            <a:r>
              <a:rPr lang="en-US" dirty="0" err="1"/>
              <a:t>Archimate</a:t>
            </a:r>
            <a:r>
              <a:rPr lang="en-US" dirty="0"/>
              <a:t> standard, which is a modeling language from The Open Group, see https://www.opengroup.org/ . </a:t>
            </a:r>
            <a:r>
              <a:rPr lang="en-US" dirty="0" err="1"/>
              <a:t>Archimate</a:t>
            </a:r>
            <a:r>
              <a:rPr lang="en-US" dirty="0"/>
              <a:t> is for creating an architecture model, see https://www.opengroup.org/archimate-forum/archimate-overview .</a:t>
            </a:r>
            <a:r>
              <a:rPr lang="nl-NL" dirty="0"/>
              <a:t>Het model volgens de </a:t>
            </a:r>
            <a:r>
              <a:rPr lang="nl-NL" dirty="0" err="1"/>
              <a:t>Archimate</a:t>
            </a:r>
            <a:r>
              <a:rPr lang="nl-NL" dirty="0"/>
              <a:t> standaard is vastgelegd met behulp van het open source tool </a:t>
            </a:r>
            <a:r>
              <a:rPr lang="nl-NL" dirty="0" err="1"/>
              <a:t>Archi</a:t>
            </a:r>
            <a:r>
              <a:rPr lang="nl-NL" dirty="0"/>
              <a:t>, zie </a:t>
            </a:r>
            <a:r>
              <a:rPr lang="nl-NL" dirty="0">
                <a:hlinkClick r:id="rId2"/>
              </a:rPr>
              <a:t>https://www.archimatetool.com/</a:t>
            </a:r>
            <a:r>
              <a:rPr lang="nl-NL" dirty="0"/>
              <a:t> </a:t>
            </a:r>
          </a:p>
          <a:p>
            <a:r>
              <a:rPr lang="en-US" dirty="0"/>
              <a:t>Each paragraph begins with a metamodel of the </a:t>
            </a:r>
            <a:r>
              <a:rPr lang="en-US" dirty="0" err="1"/>
              <a:t>Archimate</a:t>
            </a:r>
            <a:r>
              <a:rPr lang="en-US" dirty="0"/>
              <a:t> model elements used in that paragraph. The paragraphs are:</a:t>
            </a:r>
          </a:p>
          <a:p>
            <a:pPr lvl="1"/>
            <a:r>
              <a:rPr lang="en-US" dirty="0"/>
              <a:t>Motivation and goals, see sheet #04 for the metamodel</a:t>
            </a:r>
          </a:p>
          <a:p>
            <a:pPr lvl="1"/>
            <a:r>
              <a:rPr lang="en-US" dirty="0"/>
              <a:t>Business architecture, see sheet #12 for the metamodel</a:t>
            </a:r>
          </a:p>
          <a:p>
            <a:pPr lvl="1"/>
            <a:r>
              <a:rPr lang="en-US" dirty="0"/>
              <a:t>Information architecture, see sheet #18 for the metamodel </a:t>
            </a:r>
            <a:r>
              <a:rPr lang="nl-NL" dirty="0"/>
              <a:t>Een uitzondering is de paragraaf met de softwarearchitectuur. Die is uitgewerkt volgens het C4-model, zie </a:t>
            </a:r>
            <a:r>
              <a:rPr lang="nl-NL" dirty="0">
                <a:hlinkClick r:id="rId3"/>
              </a:rPr>
              <a:t>https://www.infoq.com/articles/C4-architecture-model/</a:t>
            </a:r>
            <a:r>
              <a:rPr lang="nl-NL" dirty="0"/>
              <a:t> . Het metamodel van het C4-model hiervan is uitgewerkt in </a:t>
            </a:r>
            <a:r>
              <a:rPr lang="nl-NL" dirty="0" err="1"/>
              <a:t>Archimate</a:t>
            </a:r>
            <a:r>
              <a:rPr lang="nl-NL" dirty="0"/>
              <a:t>, zie sheet #21. </a:t>
            </a:r>
          </a:p>
          <a:p>
            <a:r>
              <a:rPr lang="nl-NL" dirty="0"/>
              <a:t>Het C4-model van de softwarearchitectuur is ook in </a:t>
            </a:r>
            <a:r>
              <a:rPr lang="nl-NL" dirty="0" err="1"/>
              <a:t>Archimate</a:t>
            </a:r>
            <a:r>
              <a:rPr lang="nl-NL" dirty="0"/>
              <a:t> zelf vastgelegd, door middels labels gebruik te maken van een viewpoint in </a:t>
            </a:r>
            <a:r>
              <a:rPr lang="nl-NL" dirty="0" err="1"/>
              <a:t>Archi</a:t>
            </a:r>
            <a:r>
              <a:rPr lang="nl-NL" dirty="0"/>
              <a:t>, zie  </a:t>
            </a:r>
            <a:r>
              <a:rPr lang="nl-NL" dirty="0">
                <a:hlinkClick r:id="rId4"/>
              </a:rPr>
              <a:t>https://www.archimatetool.com/blog/2020/04/18/c4-model-architecture-viewpoint-and-archi-4-7/</a:t>
            </a:r>
            <a:r>
              <a:rPr lang="nl-NL" dirty="0"/>
              <a:t> hoe dit werkt in </a:t>
            </a:r>
            <a:r>
              <a:rPr lang="nl-NL" dirty="0" err="1"/>
              <a:t>Archi</a:t>
            </a:r>
            <a:r>
              <a:rPr lang="nl-NL" dirty="0"/>
              <a:t>.</a:t>
            </a:r>
          </a:p>
          <a:p>
            <a:r>
              <a:rPr lang="nl-NL" dirty="0"/>
              <a:t>De kleurstellingen van de </a:t>
            </a:r>
            <a:r>
              <a:rPr lang="nl-NL" dirty="0" err="1"/>
              <a:t>Archimate</a:t>
            </a:r>
            <a:r>
              <a:rPr lang="nl-NL" dirty="0"/>
              <a:t> standaard zijn gevolgd. De enige uitzondering is het model met de rollen en actoren, zie sheet #12. De kleur oranje is daar gebruikt om de rollen die in scope zijn te duiden. De overige rollen (in de kleur geel volgens de standaard) zijn buiten scope.</a:t>
            </a:r>
          </a:p>
        </p:txBody>
      </p:sp>
      <p:sp>
        <p:nvSpPr>
          <p:cNvPr id="4" name="Tijdelijke aanduiding voor voettekst 3">
            <a:extLst>
              <a:ext uri="{FF2B5EF4-FFF2-40B4-BE49-F238E27FC236}">
                <a16:creationId xmlns:a16="http://schemas.microsoft.com/office/drawing/2014/main" id="{AF707D0A-187A-4598-BEC0-38AE720D185D}"/>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14F9551-D13F-4A0D-A920-548558B72C4D}"/>
              </a:ext>
            </a:extLst>
          </p:cNvPr>
          <p:cNvSpPr>
            <a:spLocks noGrp="1"/>
          </p:cNvSpPr>
          <p:nvPr>
            <p:ph type="sldNum" sz="quarter" idx="12"/>
          </p:nvPr>
        </p:nvSpPr>
        <p:spPr/>
        <p:txBody>
          <a:bodyPr/>
          <a:lstStyle/>
          <a:p>
            <a:pPr algn="r"/>
            <a:fld id="{52CD5E70-B072-4ABF-98D2-981DEBBF7F7D}" type="slidenum">
              <a:rPr lang="nl-NL" smtClean="0"/>
              <a:pPr algn="r"/>
              <a:t>2</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9244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65D70B-BE1E-4E74-95C1-6B212A60C32F}"/>
              </a:ext>
            </a:extLst>
          </p:cNvPr>
          <p:cNvSpPr>
            <a:spLocks noGrp="1"/>
          </p:cNvSpPr>
          <p:nvPr>
            <p:ph type="title"/>
          </p:nvPr>
        </p:nvSpPr>
        <p:spPr/>
        <p:txBody>
          <a:bodyPr/>
          <a:lstStyle/>
          <a:p>
            <a:r>
              <a:rPr lang="nl-NL" dirty="0" err="1"/>
              <a:t>Terms</a:t>
            </a:r>
            <a:endParaRPr lang="nl-NL" dirty="0"/>
          </a:p>
        </p:txBody>
      </p:sp>
      <p:sp>
        <p:nvSpPr>
          <p:cNvPr id="3" name="Tijdelijke aanduiding voor inhoud 2">
            <a:extLst>
              <a:ext uri="{FF2B5EF4-FFF2-40B4-BE49-F238E27FC236}">
                <a16:creationId xmlns:a16="http://schemas.microsoft.com/office/drawing/2014/main" id="{431A05E7-2535-4193-AD75-234F5E2B6AEA}"/>
              </a:ext>
            </a:extLst>
          </p:cNvPr>
          <p:cNvSpPr>
            <a:spLocks noGrp="1"/>
          </p:cNvSpPr>
          <p:nvPr>
            <p:ph idx="1"/>
          </p:nvPr>
        </p:nvSpPr>
        <p:spPr/>
        <p:txBody>
          <a:bodyPr>
            <a:normAutofit fontScale="92500" lnSpcReduction="20000"/>
          </a:bodyPr>
          <a:lstStyle/>
          <a:p>
            <a:r>
              <a:rPr lang="en-US" dirty="0" err="1"/>
              <a:t>Interestholder</a:t>
            </a:r>
            <a:r>
              <a:rPr lang="en-US" dirty="0"/>
              <a:t>: Citizens and companies that could be adversely affected by the initiative of another person or by a decision of a competent authority. The </a:t>
            </a:r>
            <a:r>
              <a:rPr lang="en-US" dirty="0" err="1"/>
              <a:t>interestholder</a:t>
            </a:r>
            <a:r>
              <a:rPr lang="en-US" dirty="0"/>
              <a:t> assesses (proposed) decisions and can lodge an objection, submit an opinion or appeal to the competent authority.</a:t>
            </a:r>
          </a:p>
          <a:p>
            <a:r>
              <a:rPr lang="en-US" dirty="0"/>
              <a:t>Competent authority: Administrative bodies that take decisions. Government organizations can assign tasks to executive organizations for execution of tasks. A competent authority can also mandate an executive organization to take decisions in the execution of tasks.</a:t>
            </a:r>
          </a:p>
          <a:p>
            <a:r>
              <a:rPr lang="en-US" dirty="0"/>
              <a:t>Client: Responsibility for managing executive organizations.</a:t>
            </a:r>
          </a:p>
          <a:p>
            <a:r>
              <a:rPr lang="en-US" dirty="0"/>
              <a:t>Executive organization: Private or government organization that performs tasks as a contractor on behalf of a government organization.</a:t>
            </a:r>
            <a:endParaRPr lang="nl-NL" dirty="0"/>
          </a:p>
        </p:txBody>
      </p:sp>
      <p:sp>
        <p:nvSpPr>
          <p:cNvPr id="4" name="Tijdelijke aanduiding voor voettekst 3">
            <a:extLst>
              <a:ext uri="{FF2B5EF4-FFF2-40B4-BE49-F238E27FC236}">
                <a16:creationId xmlns:a16="http://schemas.microsoft.com/office/drawing/2014/main" id="{C1E9B346-12DE-4B45-9F8D-66E073DEEDF9}"/>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DBFBBBA-41D4-4A52-90E5-02184C870438}"/>
              </a:ext>
            </a:extLst>
          </p:cNvPr>
          <p:cNvSpPr>
            <a:spLocks noGrp="1"/>
          </p:cNvSpPr>
          <p:nvPr>
            <p:ph type="sldNum" sz="quarter" idx="12"/>
          </p:nvPr>
        </p:nvSpPr>
        <p:spPr/>
        <p:txBody>
          <a:bodyPr/>
          <a:lstStyle/>
          <a:p>
            <a:pPr algn="r"/>
            <a:fld id="{52CD5E70-B072-4ABF-98D2-981DEBBF7F7D}" type="slidenum">
              <a:rPr lang="nl-NL" smtClean="0"/>
              <a:pPr algn="r"/>
              <a:t>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0481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725177" y="4807512"/>
            <a:ext cx="2895600" cy="138499"/>
          </a:xfrm>
        </p:spPr>
        <p:txBody>
          <a:bodyPr anchor="t">
            <a:normAutofit/>
          </a:bodyPr>
          <a:lstStyle/>
          <a:p>
            <a:pPr>
              <a:spcAft>
                <a:spcPts val="600"/>
              </a:spcAft>
            </a:pPr>
            <a:r>
              <a:rPr lang="nl-NL"/>
              <a:t>Algorithm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4"/>
          </p:nvPr>
        </p:nvSpPr>
        <p:spPr>
          <a:xfrm>
            <a:off x="6266424" y="4807512"/>
            <a:ext cx="2133600" cy="138499"/>
          </a:xfrm>
        </p:spPr>
        <p:txBody>
          <a:bodyPr anchor="t">
            <a:normAutofit/>
          </a:bodyPr>
          <a:lstStyle/>
          <a:p>
            <a:pPr algn="r">
              <a:spcAft>
                <a:spcPts val="600"/>
              </a:spcAft>
            </a:pPr>
            <a:fld id="{52CD5E70-B072-4ABF-98D2-981DEBBF7F7D}" type="slidenum">
              <a:rPr lang="nl-NL" smtClean="0"/>
              <a:pPr algn="r">
                <a:spcAft>
                  <a:spcPts val="600"/>
                </a:spcAft>
              </a:pPr>
              <a:t>4</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498" y="1428750"/>
            <a:ext cx="6943487" cy="1276030"/>
          </a:xfrm>
        </p:spPr>
        <p:txBody>
          <a:bodyPr>
            <a:normAutofit/>
          </a:bodyPr>
          <a:lstStyle/>
          <a:p>
            <a:pPr>
              <a:spcAft>
                <a:spcPts val="600"/>
              </a:spcAft>
            </a:pPr>
            <a:r>
              <a:rPr lang="en-US" dirty="0"/>
              <a:t>This section describes the stakeholders, values, results, drivers, policy goals, principles and constraints (legislation and standards).</a:t>
            </a: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err="1"/>
              <a:t>Motivation</a:t>
            </a:r>
            <a:r>
              <a:rPr lang="nl-NL" sz="2700" dirty="0"/>
              <a:t> </a:t>
            </a:r>
            <a:r>
              <a:rPr lang="nl-NL" sz="2700" dirty="0" err="1"/>
              <a:t>and</a:t>
            </a:r>
            <a:r>
              <a:rPr lang="nl-NL" sz="2700" dirty="0"/>
              <a:t> goals</a:t>
            </a:r>
          </a:p>
        </p:txBody>
      </p:sp>
      <p:pic>
        <p:nvPicPr>
          <p:cNvPr id="6" name="Afbeelding 5">
            <a:extLst>
              <a:ext uri="{FF2B5EF4-FFF2-40B4-BE49-F238E27FC236}">
                <a16:creationId xmlns:a16="http://schemas.microsoft.com/office/drawing/2014/main" id="{6A82A487-141F-47A8-BB34-673820CA40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6897" y="2195033"/>
            <a:ext cx="5856609" cy="2502824"/>
          </a:xfrm>
          <a:prstGeom prst="rect">
            <a:avLst/>
          </a:prstGeom>
        </p:spPr>
      </p:pic>
    </p:spTree>
    <p:extLst>
      <p:ext uri="{BB962C8B-B14F-4D97-AF65-F5344CB8AC3E}">
        <p14:creationId xmlns:p14="http://schemas.microsoft.com/office/powerpoint/2010/main" val="247026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err="1"/>
              <a:t>Motivation</a:t>
            </a:r>
            <a:endParaRPr lang="nl-NL" dirty="0"/>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70000" lnSpcReduction="20000"/>
          </a:bodyPr>
          <a:lstStyle/>
          <a:p>
            <a:r>
              <a:rPr lang="en-US" dirty="0"/>
              <a:t>First, we looked at the user stories. We deduced from this that transparency of decision-making and openness of algorithms contribute to the driver that the government wants to be transparent. In addition, the government wants to be compliant and therefore comply with legislation and regulations. The AR contributes </a:t>
            </a:r>
            <a:r>
              <a:rPr lang="en-US" u="sng" dirty="0"/>
              <a:t>indirectly</a:t>
            </a:r>
            <a:r>
              <a:rPr lang="en-US" dirty="0"/>
              <a:t> to the transparency of decision-making. Indirect because the AR does not provide insight at the level of an individual decision.</a:t>
            </a:r>
            <a:endParaRPr lang="nl-NL" dirty="0"/>
          </a:p>
          <a:p>
            <a:r>
              <a:rPr lang="en-US" dirty="0"/>
              <a:t>Subsequently, it was examined which guidelines should be provided. They are based on the </a:t>
            </a:r>
            <a:r>
              <a:rPr lang="en-US" b="1" dirty="0"/>
              <a:t>principles</a:t>
            </a:r>
            <a:r>
              <a:rPr lang="en-US" dirty="0"/>
              <a:t>:</a:t>
            </a:r>
            <a:endParaRPr lang="nl-NL" dirty="0"/>
          </a:p>
          <a:p>
            <a:pPr lvl="1"/>
            <a:r>
              <a:rPr lang="nl-NL" dirty="0"/>
              <a:t>The AR is open</a:t>
            </a:r>
          </a:p>
          <a:p>
            <a:pPr lvl="1"/>
            <a:r>
              <a:rPr lang="nl-NL" dirty="0"/>
              <a:t>The AR </a:t>
            </a:r>
            <a:r>
              <a:rPr lang="en-US" dirty="0"/>
              <a:t>exchanges data in an open format</a:t>
            </a:r>
          </a:p>
          <a:p>
            <a:pPr lvl="1"/>
            <a:r>
              <a:rPr lang="nl-NL" dirty="0"/>
              <a:t>The AR is compliant.</a:t>
            </a:r>
          </a:p>
          <a:p>
            <a:r>
              <a:rPr lang="nl-NL" dirty="0"/>
              <a:t>The </a:t>
            </a:r>
            <a:r>
              <a:rPr lang="nl-NL" dirty="0" err="1"/>
              <a:t>resulting</a:t>
            </a:r>
            <a:r>
              <a:rPr lang="nl-NL" dirty="0"/>
              <a:t> </a:t>
            </a:r>
            <a:r>
              <a:rPr lang="nl-NL" b="1" dirty="0" err="1"/>
              <a:t>guidelines</a:t>
            </a:r>
            <a:r>
              <a:rPr lang="nl-NL" dirty="0"/>
              <a:t> are:</a:t>
            </a:r>
          </a:p>
          <a:p>
            <a:pPr lvl="1"/>
            <a:r>
              <a:rPr lang="nl-NL" dirty="0"/>
              <a:t>The API of </a:t>
            </a:r>
            <a:r>
              <a:rPr lang="nl-NL" dirty="0" err="1"/>
              <a:t>the</a:t>
            </a:r>
            <a:r>
              <a:rPr lang="nl-NL" dirty="0"/>
              <a:t> AR </a:t>
            </a:r>
            <a:r>
              <a:rPr lang="nl-NL" dirty="0" err="1"/>
              <a:t>uses</a:t>
            </a:r>
            <a:r>
              <a:rPr lang="nl-NL" dirty="0"/>
              <a:t> JSON (open)</a:t>
            </a:r>
          </a:p>
          <a:p>
            <a:pPr lvl="1"/>
            <a:r>
              <a:rPr lang="nl-NL" dirty="0"/>
              <a:t>The API of </a:t>
            </a:r>
            <a:r>
              <a:rPr lang="nl-NL" dirty="0" err="1"/>
              <a:t>the</a:t>
            </a:r>
            <a:r>
              <a:rPr lang="nl-NL" dirty="0"/>
              <a:t> AR is </a:t>
            </a:r>
            <a:r>
              <a:rPr lang="nl-NL" dirty="0" err="1"/>
              <a:t>described</a:t>
            </a:r>
            <a:r>
              <a:rPr lang="nl-NL" dirty="0"/>
              <a:t> (open)</a:t>
            </a:r>
          </a:p>
          <a:p>
            <a:pPr lvl="1"/>
            <a:r>
              <a:rPr lang="nl-NL" dirty="0"/>
              <a:t>The API of </a:t>
            </a:r>
            <a:r>
              <a:rPr lang="nl-NL" dirty="0" err="1"/>
              <a:t>the</a:t>
            </a:r>
            <a:r>
              <a:rPr lang="nl-NL" dirty="0"/>
              <a:t> AR is </a:t>
            </a:r>
            <a:r>
              <a:rPr lang="nl-NL" dirty="0" err="1"/>
              <a:t>documented</a:t>
            </a:r>
            <a:r>
              <a:rPr lang="nl-NL" dirty="0"/>
              <a:t>, </a:t>
            </a:r>
            <a:r>
              <a:rPr lang="nl-NL" dirty="0" err="1"/>
              <a:t>this</a:t>
            </a:r>
            <a:r>
              <a:rPr lang="nl-NL" dirty="0"/>
              <a:t> </a:t>
            </a:r>
            <a:r>
              <a:rPr lang="nl-NL" dirty="0" err="1"/>
              <a:t>implies</a:t>
            </a:r>
            <a:r>
              <a:rPr lang="nl-NL" dirty="0"/>
              <a:t> </a:t>
            </a:r>
            <a:r>
              <a:rPr lang="nl-NL" dirty="0" err="1"/>
              <a:t>that</a:t>
            </a:r>
            <a:r>
              <a:rPr lang="nl-NL" dirty="0"/>
              <a:t> </a:t>
            </a:r>
            <a:r>
              <a:rPr lang="nl-NL" dirty="0" err="1"/>
              <a:t>there</a:t>
            </a:r>
            <a:r>
              <a:rPr lang="nl-NL" dirty="0"/>
              <a:t> is </a:t>
            </a:r>
            <a:r>
              <a:rPr lang="nl-NL" dirty="0" err="1"/>
              <a:t>an</a:t>
            </a:r>
            <a:r>
              <a:rPr lang="nl-NL" dirty="0"/>
              <a:t> informationmodel (open)</a:t>
            </a:r>
          </a:p>
          <a:p>
            <a:pPr lvl="1"/>
            <a:r>
              <a:rPr lang="en-US" dirty="0"/>
              <a:t>An open standard has been developed for the AR (open exchange of data)</a:t>
            </a:r>
          </a:p>
          <a:p>
            <a:pPr lvl="1"/>
            <a:r>
              <a:rPr lang="en-US" dirty="0"/>
              <a:t>The AR meets the WCAG requirements to meet Digital </a:t>
            </a:r>
            <a:r>
              <a:rPr lang="en-US" dirty="0" err="1"/>
              <a:t>Acessibility</a:t>
            </a:r>
            <a:r>
              <a:rPr lang="en-US" dirty="0"/>
              <a:t> (compliance).</a:t>
            </a:r>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hm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41838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err="1">
                <a:highlight>
                  <a:srgbClr val="FFFF00"/>
                </a:highlight>
              </a:rPr>
              <a:t>Motivation</a:t>
            </a:r>
            <a:endParaRPr lang="nl-NL" sz="2700" dirty="0">
              <a:highlight>
                <a:srgbClr val="FFFF00"/>
              </a:highlight>
            </a:endParaRP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dirty="0"/>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6</a:t>
            </a:fld>
            <a:endParaRPr lang="nl-NL"/>
          </a:p>
        </p:txBody>
      </p:sp>
      <p:pic>
        <p:nvPicPr>
          <p:cNvPr id="7" name="Afbeelding 6">
            <a:extLst>
              <a:ext uri="{FF2B5EF4-FFF2-40B4-BE49-F238E27FC236}">
                <a16:creationId xmlns:a16="http://schemas.microsoft.com/office/drawing/2014/main" id="{970DCD8C-595D-1366-16E5-36F4E3C533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288" y="1075763"/>
            <a:ext cx="7444866" cy="3549457"/>
          </a:xfrm>
          <a:prstGeom prst="rect">
            <a:avLst/>
          </a:prstGeom>
        </p:spPr>
      </p:pic>
    </p:spTree>
    <p:extLst>
      <p:ext uri="{BB962C8B-B14F-4D97-AF65-F5344CB8AC3E}">
        <p14:creationId xmlns:p14="http://schemas.microsoft.com/office/powerpoint/2010/main" val="12774123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err="1">
                <a:highlight>
                  <a:srgbClr val="FFFF00"/>
                </a:highlight>
              </a:rPr>
              <a:t>Guidelines</a:t>
            </a:r>
            <a:r>
              <a:rPr lang="nl-NL" dirty="0">
                <a:highlight>
                  <a:srgbClr val="FFFF00"/>
                </a:highlight>
              </a:rPr>
              <a:t> </a:t>
            </a:r>
            <a:r>
              <a:rPr lang="nl-NL" dirty="0" err="1">
                <a:highlight>
                  <a:srgbClr val="FFFF00"/>
                </a:highlight>
              </a:rPr>
              <a:t>for</a:t>
            </a:r>
            <a:r>
              <a:rPr lang="nl-NL" dirty="0">
                <a:highlight>
                  <a:srgbClr val="FFFF00"/>
                </a:highlight>
              </a:rPr>
              <a:t> </a:t>
            </a:r>
            <a:r>
              <a:rPr lang="nl-NL" dirty="0" err="1">
                <a:highlight>
                  <a:srgbClr val="FFFF00"/>
                </a:highlight>
              </a:rPr>
              <a:t>the</a:t>
            </a:r>
            <a:r>
              <a:rPr lang="nl-NL" dirty="0">
                <a:highlight>
                  <a:srgbClr val="FFFF00"/>
                </a:highlight>
              </a:rPr>
              <a:t> open standaard</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a:xfrm>
            <a:off x="571500" y="1428750"/>
            <a:ext cx="7837488" cy="3250826"/>
          </a:xfrm>
        </p:spPr>
        <p:txBody>
          <a:bodyPr>
            <a:normAutofit fontScale="85000" lnSpcReduction="20000"/>
          </a:bodyPr>
          <a:lstStyle/>
          <a:p>
            <a:r>
              <a:rPr lang="nl-NL" dirty="0"/>
              <a:t>The open standard </a:t>
            </a:r>
            <a:r>
              <a:rPr lang="nl-NL" dirty="0" err="1"/>
              <a:t>for</a:t>
            </a:r>
            <a:r>
              <a:rPr lang="nl-NL" dirty="0"/>
              <a:t> </a:t>
            </a:r>
            <a:r>
              <a:rPr lang="nl-NL" dirty="0" err="1"/>
              <a:t>the</a:t>
            </a:r>
            <a:r>
              <a:rPr lang="nl-NL" dirty="0"/>
              <a:t> AR:</a:t>
            </a:r>
          </a:p>
          <a:p>
            <a:pPr lvl="1"/>
            <a:r>
              <a:rPr lang="en-US" dirty="0"/>
              <a:t>Has been developed and managed in an open process according to the standard Management and Development Model for Open Standards (BOMOS).</a:t>
            </a:r>
          </a:p>
          <a:p>
            <a:pPr lvl="1"/>
            <a:r>
              <a:rPr lang="en-US" dirty="0"/>
              <a:t>Is managed by an organization that manages open standards for publication (proposal is KOOP, Knowledge and Exploitation Center for Official Government Publications).</a:t>
            </a:r>
          </a:p>
          <a:p>
            <a:pPr lvl="1"/>
            <a:r>
              <a:rPr lang="en-US" dirty="0"/>
              <a:t>Is suitable for publishing metadata on a portal with official government information from the Dutch government (overheid.nl).</a:t>
            </a:r>
          </a:p>
          <a:p>
            <a:pPr lvl="1"/>
            <a:r>
              <a:rPr lang="en-US" dirty="0"/>
              <a:t>Is based on the open standard Overheid.nl Web Metadata (OWMS).</a:t>
            </a:r>
          </a:p>
          <a:p>
            <a:pPr lvl="1"/>
            <a:r>
              <a:rPr lang="en-US" dirty="0"/>
              <a:t>Is based on the open standard Dublin Core Metadata Initiative (DCMI).</a:t>
            </a:r>
          </a:p>
          <a:p>
            <a:pPr lvl="1"/>
            <a:r>
              <a:rPr lang="en-US" dirty="0">
                <a:highlight>
                  <a:srgbClr val="FFFF00"/>
                </a:highlight>
              </a:rPr>
              <a:t>Takes into account the standard Thesaurus and Ontology Government Information (TOOI) that is under development.</a:t>
            </a:r>
            <a:endParaRPr lang="nl-NL" dirty="0">
              <a:highlight>
                <a:srgbClr val="FFFF00"/>
              </a:highlight>
            </a:endParaRPr>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7</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958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err="1"/>
              <a:t>Guidelines</a:t>
            </a:r>
            <a:r>
              <a:rPr lang="nl-NL" dirty="0"/>
              <a:t> </a:t>
            </a:r>
            <a:r>
              <a:rPr lang="nl-NL" dirty="0" err="1"/>
              <a:t>for</a:t>
            </a:r>
            <a:r>
              <a:rPr lang="nl-NL" dirty="0"/>
              <a:t> </a:t>
            </a:r>
            <a:r>
              <a:rPr lang="nl-NL" dirty="0" err="1"/>
              <a:t>the</a:t>
            </a:r>
            <a:r>
              <a:rPr lang="nl-NL" dirty="0"/>
              <a:t> </a:t>
            </a:r>
            <a:r>
              <a:rPr lang="nl-NL" dirty="0" err="1"/>
              <a:t>use</a:t>
            </a:r>
            <a:r>
              <a:rPr lang="nl-NL" dirty="0"/>
              <a:t> of </a:t>
            </a:r>
            <a:r>
              <a:rPr lang="nl-NL" dirty="0" err="1"/>
              <a:t>API’s</a:t>
            </a:r>
            <a:endParaRPr lang="nl-NL" dirty="0"/>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a:bodyPr>
          <a:lstStyle/>
          <a:p>
            <a:r>
              <a:rPr lang="en-US" dirty="0"/>
              <a:t>The APIs being developed for the AR comply with</a:t>
            </a:r>
            <a:r>
              <a:rPr lang="nl-NL" dirty="0"/>
              <a:t>:</a:t>
            </a:r>
          </a:p>
          <a:p>
            <a:pPr lvl="1"/>
            <a:r>
              <a:rPr lang="en-US" dirty="0"/>
              <a:t>Description API: The description of the API conforms to the standard </a:t>
            </a:r>
            <a:r>
              <a:rPr lang="en-US" dirty="0" err="1"/>
              <a:t>OpenAPI</a:t>
            </a:r>
            <a:r>
              <a:rPr lang="en-US" dirty="0"/>
              <a:t> Specification for describing REST APIs.</a:t>
            </a:r>
          </a:p>
          <a:p>
            <a:pPr lvl="1"/>
            <a:r>
              <a:rPr lang="en-US" dirty="0"/>
              <a:t>Documentation API: The API setup and documentation complies with the standard REST API Design Rules for structuring and documenting REST APIs.</a:t>
            </a:r>
          </a:p>
          <a:p>
            <a:pPr lvl="1"/>
            <a:r>
              <a:rPr lang="en-US" dirty="0"/>
              <a:t>Security API: The security of the API complies with the standard NL GOV Assurance profile for OAuth 2.0 for securely authorizing access to REST APIs.</a:t>
            </a:r>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8</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372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ej6WICOGU.cSvpJzcFz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potx" id="{EAE7A40C-FAA6-4157-BDC8-84FEF4A6CBC5}" vid="{3006CE8F-273C-4C05-A19A-0D341ECBC10E}"/>
    </a:ext>
  </a:ext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ZH PWP sjabloon 2021</Template>
  <TotalTime>771</TotalTime>
  <Words>2596</Words>
  <Application>Microsoft Office PowerPoint</Application>
  <PresentationFormat>Diavoorstelling (16:9)</PresentationFormat>
  <Paragraphs>238</Paragraphs>
  <Slides>29</Slides>
  <Notes>1</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29</vt:i4>
      </vt:variant>
    </vt:vector>
  </HeadingPairs>
  <TitlesOfParts>
    <vt:vector size="35" baseType="lpstr">
      <vt:lpstr>Arial</vt:lpstr>
      <vt:lpstr>Calibri</vt:lpstr>
      <vt:lpstr>Georgia</vt:lpstr>
      <vt:lpstr>Wingdings</vt:lpstr>
      <vt:lpstr>Provincie Zuid Holland 16x9</vt:lpstr>
      <vt:lpstr>think-cell Slide</vt:lpstr>
      <vt:lpstr>Algorithmregister</vt:lpstr>
      <vt:lpstr>Documenthistory</vt:lpstr>
      <vt:lpstr>Reading guide</vt:lpstr>
      <vt:lpstr>Terms</vt:lpstr>
      <vt:lpstr>Motivation and goals</vt:lpstr>
      <vt:lpstr>Motivation</vt:lpstr>
      <vt:lpstr>Motivation</vt:lpstr>
      <vt:lpstr>Guidelines for the open standaard</vt:lpstr>
      <vt:lpstr>Guidelines for the use of API’s</vt:lpstr>
      <vt:lpstr>Guidelines for the developed applications</vt:lpstr>
      <vt:lpstr>Goals</vt:lpstr>
      <vt:lpstr>Goals</vt:lpstr>
      <vt:lpstr>Business architecture</vt:lpstr>
      <vt:lpstr>Businessobjectmodel</vt:lpstr>
      <vt:lpstr>Businessobjectmodel</vt:lpstr>
      <vt:lpstr>Roles and actors</vt:lpstr>
      <vt:lpstr>Roles and actors</vt:lpstr>
      <vt:lpstr>Roles in scope</vt:lpstr>
      <vt:lpstr>Roles in decision-making and execution</vt:lpstr>
      <vt:lpstr>Information architecture</vt:lpstr>
      <vt:lpstr>Registrations and applications</vt:lpstr>
      <vt:lpstr>Registrations and applications</vt:lpstr>
      <vt:lpstr>Software architecture</vt:lpstr>
      <vt:lpstr>Contextdiagram Algorithm register</vt:lpstr>
      <vt:lpstr>Containerdiagram Algorithm register</vt:lpstr>
      <vt:lpstr>Componentdiagram Backend API application</vt:lpstr>
      <vt:lpstr>Softwarestack 1/3</vt:lpstr>
      <vt:lpstr>Softwarestack 2/3</vt:lpstr>
      <vt:lpstr>Softwarestack 3/3</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ndre Batenburg</dc:creator>
  <cp:lastModifiedBy>Andre Batenburg</cp:lastModifiedBy>
  <cp:revision>11</cp:revision>
  <dcterms:created xsi:type="dcterms:W3CDTF">2021-07-02T13:01:29Z</dcterms:created>
  <dcterms:modified xsi:type="dcterms:W3CDTF">2022-11-04T14:54:04Z</dcterms:modified>
</cp:coreProperties>
</file>